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sldIdLst>
    <p:sldId id="256" r:id="rId2"/>
    <p:sldId id="269" r:id="rId3"/>
    <p:sldId id="258" r:id="rId4"/>
    <p:sldId id="270" r:id="rId5"/>
    <p:sldId id="274" r:id="rId6"/>
    <p:sldId id="276" r:id="rId7"/>
    <p:sldId id="275" r:id="rId8"/>
    <p:sldId id="279" r:id="rId9"/>
    <p:sldId id="277" r:id="rId10"/>
    <p:sldId id="282" r:id="rId11"/>
    <p:sldId id="283" r:id="rId12"/>
    <p:sldId id="280" r:id="rId13"/>
    <p:sldId id="281" r:id="rId14"/>
    <p:sldId id="284" r:id="rId15"/>
    <p:sldId id="285" r:id="rId16"/>
    <p:sldId id="261" r:id="rId17"/>
  </p:sldIdLst>
  <p:sldSz cx="12192000" cy="6858000"/>
  <p:notesSz cx="6858000" cy="9144000"/>
  <p:custDataLst>
    <p:tags r:id="rId1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50B"/>
    <a:srgbClr val="CE6900"/>
    <a:srgbClr val="EA9600"/>
    <a:srgbClr val="F49F00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5" d="100"/>
          <a:sy n="85" d="100"/>
        </p:scale>
        <p:origin x="590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丁豪" userId="16acd27a-f814-47b2-87cc-345dcffd6e32" providerId="ADAL" clId="{32430F52-30CF-4593-89F9-C4686409A511}"/>
    <pc:docChg chg="undo custSel addSld delSld modSld sldOrd">
      <pc:chgData name="丁豪" userId="16acd27a-f814-47b2-87cc-345dcffd6e32" providerId="ADAL" clId="{32430F52-30CF-4593-89F9-C4686409A511}" dt="2019-06-10T13:32:06.071" v="1572" actId="478"/>
      <pc:docMkLst>
        <pc:docMk/>
      </pc:docMkLst>
      <pc:sldChg chg="delSp modSp">
        <pc:chgData name="丁豪" userId="16acd27a-f814-47b2-87cc-345dcffd6e32" providerId="ADAL" clId="{32430F52-30CF-4593-89F9-C4686409A511}" dt="2019-06-10T12:16:49.257" v="76" actId="478"/>
        <pc:sldMkLst>
          <pc:docMk/>
          <pc:sldMk cId="2271741893" sldId="256"/>
        </pc:sldMkLst>
        <pc:spChg chg="del mod">
          <ac:chgData name="丁豪" userId="16acd27a-f814-47b2-87cc-345dcffd6e32" providerId="ADAL" clId="{32430F52-30CF-4593-89F9-C4686409A511}" dt="2019-06-10T12:16:49.257" v="76" actId="478"/>
          <ac:spMkLst>
            <pc:docMk/>
            <pc:sldMk cId="2271741893" sldId="256"/>
            <ac:spMk id="10" creationId="{91E9DF67-1DEE-414F-939E-ECE0286C525E}"/>
          </ac:spMkLst>
        </pc:spChg>
        <pc:spChg chg="mod">
          <ac:chgData name="丁豪" userId="16acd27a-f814-47b2-87cc-345dcffd6e32" providerId="ADAL" clId="{32430F52-30CF-4593-89F9-C4686409A511}" dt="2019-06-10T12:15:49.514" v="9" actId="20577"/>
          <ac:spMkLst>
            <pc:docMk/>
            <pc:sldMk cId="2271741893" sldId="256"/>
            <ac:spMk id="15" creationId="{BD765743-D004-41C3-AE1C-CAC623E973A3}"/>
          </ac:spMkLst>
        </pc:spChg>
      </pc:sldChg>
      <pc:sldChg chg="addSp delSp modSp">
        <pc:chgData name="丁豪" userId="16acd27a-f814-47b2-87cc-345dcffd6e32" providerId="ADAL" clId="{32430F52-30CF-4593-89F9-C4686409A511}" dt="2019-06-10T12:22:28.110" v="515" actId="1076"/>
        <pc:sldMkLst>
          <pc:docMk/>
          <pc:sldMk cId="2371597387" sldId="258"/>
        </pc:sldMkLst>
        <pc:spChg chg="mod">
          <ac:chgData name="丁豪" userId="16acd27a-f814-47b2-87cc-345dcffd6e32" providerId="ADAL" clId="{32430F52-30CF-4593-89F9-C4686409A511}" dt="2019-06-10T12:22:17.172" v="512" actId="403"/>
          <ac:spMkLst>
            <pc:docMk/>
            <pc:sldMk cId="2371597387" sldId="258"/>
            <ac:spMk id="5" creationId="{00000000-0000-0000-0000-000000000000}"/>
          </ac:spMkLst>
        </pc:spChg>
        <pc:spChg chg="add del mod">
          <ac:chgData name="丁豪" userId="16acd27a-f814-47b2-87cc-345dcffd6e32" providerId="ADAL" clId="{32430F52-30CF-4593-89F9-C4686409A511}" dt="2019-06-10T12:22:28.110" v="515" actId="1076"/>
          <ac:spMkLst>
            <pc:docMk/>
            <pc:sldMk cId="2371597387" sldId="258"/>
            <ac:spMk id="6" creationId="{00000000-0000-0000-0000-000000000000}"/>
          </ac:spMkLst>
        </pc:spChg>
      </pc:sldChg>
      <pc:sldChg chg="addSp delSp modSp">
        <pc:chgData name="丁豪" userId="16acd27a-f814-47b2-87cc-345dcffd6e32" providerId="ADAL" clId="{32430F52-30CF-4593-89F9-C4686409A511}" dt="2019-06-10T13:32:06.071" v="1572" actId="478"/>
        <pc:sldMkLst>
          <pc:docMk/>
          <pc:sldMk cId="1259043032" sldId="261"/>
        </pc:sldMkLst>
        <pc:spChg chg="mod">
          <ac:chgData name="丁豪" userId="16acd27a-f814-47b2-87cc-345dcffd6e32" providerId="ADAL" clId="{32430F52-30CF-4593-89F9-C4686409A511}" dt="2019-06-10T12:51:47.705" v="1370" actId="20577"/>
          <ac:spMkLst>
            <pc:docMk/>
            <pc:sldMk cId="1259043032" sldId="261"/>
            <ac:spMk id="5" creationId="{00000000-0000-0000-0000-000000000000}"/>
          </ac:spMkLst>
        </pc:spChg>
        <pc:spChg chg="mod">
          <ac:chgData name="丁豪" userId="16acd27a-f814-47b2-87cc-345dcffd6e32" providerId="ADAL" clId="{32430F52-30CF-4593-89F9-C4686409A511}" dt="2019-06-10T12:51:59.767" v="1470"/>
          <ac:spMkLst>
            <pc:docMk/>
            <pc:sldMk cId="1259043032" sldId="261"/>
            <ac:spMk id="6" creationId="{00000000-0000-0000-0000-000000000000}"/>
          </ac:spMkLst>
        </pc:spChg>
        <pc:spChg chg="del">
          <ac:chgData name="丁豪" userId="16acd27a-f814-47b2-87cc-345dcffd6e32" providerId="ADAL" clId="{32430F52-30CF-4593-89F9-C4686409A511}" dt="2019-06-10T13:31:55.426" v="1571" actId="478"/>
          <ac:spMkLst>
            <pc:docMk/>
            <pc:sldMk cId="1259043032" sldId="261"/>
            <ac:spMk id="7" creationId="{00000000-0000-0000-0000-000000000000}"/>
          </ac:spMkLst>
        </pc:spChg>
        <pc:spChg chg="del mod">
          <ac:chgData name="丁豪" userId="16acd27a-f814-47b2-87cc-345dcffd6e32" providerId="ADAL" clId="{32430F52-30CF-4593-89F9-C4686409A511}" dt="2019-06-10T12:52:44.950" v="1530" actId="478"/>
          <ac:spMkLst>
            <pc:docMk/>
            <pc:sldMk cId="1259043032" sldId="261"/>
            <ac:spMk id="8" creationId="{ED16DD83-DABB-4D21-A089-E46E75C16799}"/>
          </ac:spMkLst>
        </pc:spChg>
        <pc:spChg chg="add del mod">
          <ac:chgData name="丁豪" userId="16acd27a-f814-47b2-87cc-345dcffd6e32" providerId="ADAL" clId="{32430F52-30CF-4593-89F9-C4686409A511}" dt="2019-06-10T13:32:06.071" v="1572" actId="478"/>
          <ac:spMkLst>
            <pc:docMk/>
            <pc:sldMk cId="1259043032" sldId="261"/>
            <ac:spMk id="8" creationId="{FE8BAD1D-4E44-44C4-9A74-4C2F72410582}"/>
          </ac:spMkLst>
        </pc:spChg>
      </pc:sldChg>
      <pc:sldChg chg="modSp">
        <pc:chgData name="丁豪" userId="16acd27a-f814-47b2-87cc-345dcffd6e32" providerId="ADAL" clId="{32430F52-30CF-4593-89F9-C4686409A511}" dt="2019-06-10T12:38:10.839" v="991" actId="20577"/>
        <pc:sldMkLst>
          <pc:docMk/>
          <pc:sldMk cId="911933172" sldId="269"/>
        </pc:sldMkLst>
        <pc:spChg chg="mod">
          <ac:chgData name="丁豪" userId="16acd27a-f814-47b2-87cc-345dcffd6e32" providerId="ADAL" clId="{32430F52-30CF-4593-89F9-C4686409A511}" dt="2019-06-10T12:38:10.839" v="991" actId="20577"/>
          <ac:spMkLst>
            <pc:docMk/>
            <pc:sldMk cId="911933172" sldId="269"/>
            <ac:spMk id="7" creationId="{48F70259-7598-4270-874A-6F50772D10F6}"/>
          </ac:spMkLst>
        </pc:spChg>
        <pc:spChg chg="mod">
          <ac:chgData name="丁豪" userId="16acd27a-f814-47b2-87cc-345dcffd6e32" providerId="ADAL" clId="{32430F52-30CF-4593-89F9-C4686409A511}" dt="2019-06-10T12:19:42.434" v="259" actId="1076"/>
          <ac:spMkLst>
            <pc:docMk/>
            <pc:sldMk cId="911933172" sldId="269"/>
            <ac:spMk id="9" creationId="{0DB1D0A1-2667-455C-9387-D7ABF0A00B8C}"/>
          </ac:spMkLst>
        </pc:spChg>
      </pc:sldChg>
      <pc:sldChg chg="addSp delSp modSp">
        <pc:chgData name="丁豪" userId="16acd27a-f814-47b2-87cc-345dcffd6e32" providerId="ADAL" clId="{32430F52-30CF-4593-89F9-C4686409A511}" dt="2019-06-10T12:25:30.895" v="563" actId="14100"/>
        <pc:sldMkLst>
          <pc:docMk/>
          <pc:sldMk cId="2449131452" sldId="270"/>
        </pc:sldMkLst>
        <pc:spChg chg="mod">
          <ac:chgData name="丁豪" userId="16acd27a-f814-47b2-87cc-345dcffd6e32" providerId="ADAL" clId="{32430F52-30CF-4593-89F9-C4686409A511}" dt="2019-06-10T12:22:50.665" v="539"/>
          <ac:spMkLst>
            <pc:docMk/>
            <pc:sldMk cId="2449131452" sldId="270"/>
            <ac:spMk id="2" creationId="{00000000-0000-0000-0000-000000000000}"/>
          </ac:spMkLst>
        </pc:spChg>
        <pc:picChg chg="add del mod">
          <ac:chgData name="丁豪" userId="16acd27a-f814-47b2-87cc-345dcffd6e32" providerId="ADAL" clId="{32430F52-30CF-4593-89F9-C4686409A511}" dt="2019-06-10T12:25:17.826" v="560" actId="478"/>
          <ac:picMkLst>
            <pc:docMk/>
            <pc:sldMk cId="2449131452" sldId="270"/>
            <ac:picMk id="6" creationId="{5A6DD97B-DCE5-4CBC-80DB-E55A036E09C1}"/>
          </ac:picMkLst>
        </pc:picChg>
        <pc:picChg chg="add del mod">
          <ac:chgData name="丁豪" userId="16acd27a-f814-47b2-87cc-345dcffd6e32" providerId="ADAL" clId="{32430F52-30CF-4593-89F9-C4686409A511}" dt="2019-06-10T12:25:11.779" v="557" actId="478"/>
          <ac:picMkLst>
            <pc:docMk/>
            <pc:sldMk cId="2449131452" sldId="270"/>
            <ac:picMk id="8" creationId="{CB2F1C69-0189-4AE4-9E82-B4AAFFAEBFC2}"/>
          </ac:picMkLst>
        </pc:picChg>
        <pc:picChg chg="add mod">
          <ac:chgData name="丁豪" userId="16acd27a-f814-47b2-87cc-345dcffd6e32" providerId="ADAL" clId="{32430F52-30CF-4593-89F9-C4686409A511}" dt="2019-06-10T12:25:30.895" v="563" actId="14100"/>
          <ac:picMkLst>
            <pc:docMk/>
            <pc:sldMk cId="2449131452" sldId="270"/>
            <ac:picMk id="10" creationId="{B2A420B7-E435-40AE-AE60-15E757A5BC73}"/>
          </ac:picMkLst>
        </pc:picChg>
      </pc:sldChg>
      <pc:sldChg chg="del">
        <pc:chgData name="丁豪" userId="16acd27a-f814-47b2-87cc-345dcffd6e32" providerId="ADAL" clId="{32430F52-30CF-4593-89F9-C4686409A511}" dt="2019-06-10T12:49:19.822" v="1220" actId="2696"/>
        <pc:sldMkLst>
          <pc:docMk/>
          <pc:sldMk cId="545778957" sldId="271"/>
        </pc:sldMkLst>
      </pc:sldChg>
      <pc:sldChg chg="del">
        <pc:chgData name="丁豪" userId="16acd27a-f814-47b2-87cc-345dcffd6e32" providerId="ADAL" clId="{32430F52-30CF-4593-89F9-C4686409A511}" dt="2019-06-10T12:49:20.687" v="1221" actId="2696"/>
        <pc:sldMkLst>
          <pc:docMk/>
          <pc:sldMk cId="2183302118" sldId="272"/>
        </pc:sldMkLst>
      </pc:sldChg>
      <pc:sldChg chg="del">
        <pc:chgData name="丁豪" userId="16acd27a-f814-47b2-87cc-345dcffd6e32" providerId="ADAL" clId="{32430F52-30CF-4593-89F9-C4686409A511}" dt="2019-06-10T12:49:21.334" v="1222" actId="2696"/>
        <pc:sldMkLst>
          <pc:docMk/>
          <pc:sldMk cId="2161072074" sldId="273"/>
        </pc:sldMkLst>
      </pc:sldChg>
      <pc:sldChg chg="modSp add">
        <pc:chgData name="丁豪" userId="16acd27a-f814-47b2-87cc-345dcffd6e32" providerId="ADAL" clId="{32430F52-30CF-4593-89F9-C4686409A511}" dt="2019-06-10T12:26:13.500" v="686" actId="20577"/>
        <pc:sldMkLst>
          <pc:docMk/>
          <pc:sldMk cId="2442694647" sldId="274"/>
        </pc:sldMkLst>
        <pc:spChg chg="mod">
          <ac:chgData name="丁豪" userId="16acd27a-f814-47b2-87cc-345dcffd6e32" providerId="ADAL" clId="{32430F52-30CF-4593-89F9-C4686409A511}" dt="2019-06-10T12:25:52.934" v="588"/>
          <ac:spMkLst>
            <pc:docMk/>
            <pc:sldMk cId="2442694647" sldId="274"/>
            <ac:spMk id="5" creationId="{00000000-0000-0000-0000-000000000000}"/>
          </ac:spMkLst>
        </pc:spChg>
        <pc:spChg chg="mod">
          <ac:chgData name="丁豪" userId="16acd27a-f814-47b2-87cc-345dcffd6e32" providerId="ADAL" clId="{32430F52-30CF-4593-89F9-C4686409A511}" dt="2019-06-10T12:26:13.500" v="686" actId="20577"/>
          <ac:spMkLst>
            <pc:docMk/>
            <pc:sldMk cId="2442694647" sldId="274"/>
            <ac:spMk id="6" creationId="{00000000-0000-0000-0000-000000000000}"/>
          </ac:spMkLst>
        </pc:spChg>
        <pc:spChg chg="mod">
          <ac:chgData name="丁豪" userId="16acd27a-f814-47b2-87cc-345dcffd6e32" providerId="ADAL" clId="{32430F52-30CF-4593-89F9-C4686409A511}" dt="2019-06-10T12:25:48.894" v="566" actId="20577"/>
          <ac:spMkLst>
            <pc:docMk/>
            <pc:sldMk cId="2442694647" sldId="274"/>
            <ac:spMk id="9" creationId="{04F69230-F3A6-4586-9371-A858F4763E9F}"/>
          </ac:spMkLst>
        </pc:spChg>
      </pc:sldChg>
      <pc:sldChg chg="addSp delSp modSp add">
        <pc:chgData name="丁豪" userId="16acd27a-f814-47b2-87cc-345dcffd6e32" providerId="ADAL" clId="{32430F52-30CF-4593-89F9-C4686409A511}" dt="2019-06-10T12:30:41.786" v="691" actId="1076"/>
        <pc:sldMkLst>
          <pc:docMk/>
          <pc:sldMk cId="2405698595" sldId="275"/>
        </pc:sldMkLst>
        <pc:spChg chg="del">
          <ac:chgData name="丁豪" userId="16acd27a-f814-47b2-87cc-345dcffd6e32" providerId="ADAL" clId="{32430F52-30CF-4593-89F9-C4686409A511}" dt="2019-06-10T12:27:04.461" v="688" actId="478"/>
          <ac:spMkLst>
            <pc:docMk/>
            <pc:sldMk cId="2405698595" sldId="275"/>
            <ac:spMk id="2" creationId="{61E6EB5C-706B-4AFF-AF99-7A5D795FB36E}"/>
          </ac:spMkLst>
        </pc:spChg>
        <pc:spChg chg="del">
          <ac:chgData name="丁豪" userId="16acd27a-f814-47b2-87cc-345dcffd6e32" providerId="ADAL" clId="{32430F52-30CF-4593-89F9-C4686409A511}" dt="2019-06-10T12:27:05.609" v="689" actId="478"/>
          <ac:spMkLst>
            <pc:docMk/>
            <pc:sldMk cId="2405698595" sldId="275"/>
            <ac:spMk id="3" creationId="{BCB6408D-9DF5-4DE2-9927-79EAC437AB66}"/>
          </ac:spMkLst>
        </pc:spChg>
        <pc:picChg chg="add mod">
          <ac:chgData name="丁豪" userId="16acd27a-f814-47b2-87cc-345dcffd6e32" providerId="ADAL" clId="{32430F52-30CF-4593-89F9-C4686409A511}" dt="2019-06-10T12:30:41.786" v="691" actId="1076"/>
          <ac:picMkLst>
            <pc:docMk/>
            <pc:sldMk cId="2405698595" sldId="275"/>
            <ac:picMk id="4" creationId="{24363386-9ED1-4A12-BB73-C6FA1F82EF87}"/>
          </ac:picMkLst>
        </pc:picChg>
      </pc:sldChg>
      <pc:sldChg chg="addSp delSp modSp add ord">
        <pc:chgData name="丁豪" userId="16acd27a-f814-47b2-87cc-345dcffd6e32" providerId="ADAL" clId="{32430F52-30CF-4593-89F9-C4686409A511}" dt="2019-06-10T12:32:41.650" v="700"/>
        <pc:sldMkLst>
          <pc:docMk/>
          <pc:sldMk cId="1078481186" sldId="276"/>
        </pc:sldMkLst>
        <pc:spChg chg="del">
          <ac:chgData name="丁豪" userId="16acd27a-f814-47b2-87cc-345dcffd6e32" providerId="ADAL" clId="{32430F52-30CF-4593-89F9-C4686409A511}" dt="2019-06-10T12:30:59.221" v="693" actId="478"/>
          <ac:spMkLst>
            <pc:docMk/>
            <pc:sldMk cId="1078481186" sldId="276"/>
            <ac:spMk id="2" creationId="{84A135FF-B892-4BAB-8596-25F1D9E2ED49}"/>
          </ac:spMkLst>
        </pc:spChg>
        <pc:spChg chg="del">
          <ac:chgData name="丁豪" userId="16acd27a-f814-47b2-87cc-345dcffd6e32" providerId="ADAL" clId="{32430F52-30CF-4593-89F9-C4686409A511}" dt="2019-06-10T12:31:00.233" v="694" actId="478"/>
          <ac:spMkLst>
            <pc:docMk/>
            <pc:sldMk cId="1078481186" sldId="276"/>
            <ac:spMk id="3" creationId="{B8D6814A-220D-4629-BCE8-CFDB7B6B228E}"/>
          </ac:spMkLst>
        </pc:spChg>
        <pc:picChg chg="add del">
          <ac:chgData name="丁豪" userId="16acd27a-f814-47b2-87cc-345dcffd6e32" providerId="ADAL" clId="{32430F52-30CF-4593-89F9-C4686409A511}" dt="2019-06-10T12:32:25.333" v="696" actId="478"/>
          <ac:picMkLst>
            <pc:docMk/>
            <pc:sldMk cId="1078481186" sldId="276"/>
            <ac:picMk id="4" creationId="{B25539CC-BDEF-4E5C-9179-399D77287982}"/>
          </ac:picMkLst>
        </pc:picChg>
        <pc:picChg chg="add mod">
          <ac:chgData name="丁豪" userId="16acd27a-f814-47b2-87cc-345dcffd6e32" providerId="ADAL" clId="{32430F52-30CF-4593-89F9-C4686409A511}" dt="2019-06-10T12:32:35.945" v="699" actId="14100"/>
          <ac:picMkLst>
            <pc:docMk/>
            <pc:sldMk cId="1078481186" sldId="276"/>
            <ac:picMk id="5" creationId="{78860FF8-61B8-461F-81E7-FE03D105B089}"/>
          </ac:picMkLst>
        </pc:picChg>
      </pc:sldChg>
      <pc:sldChg chg="modSp add ord">
        <pc:chgData name="丁豪" userId="16acd27a-f814-47b2-87cc-345dcffd6e32" providerId="ADAL" clId="{32430F52-30CF-4593-89F9-C4686409A511}" dt="2019-06-10T12:49:40.391" v="1243"/>
        <pc:sldMkLst>
          <pc:docMk/>
          <pc:sldMk cId="3940888835" sldId="277"/>
        </pc:sldMkLst>
        <pc:spChg chg="mod">
          <ac:chgData name="丁豪" userId="16acd27a-f814-47b2-87cc-345dcffd6e32" providerId="ADAL" clId="{32430F52-30CF-4593-89F9-C4686409A511}" dt="2019-06-10T12:49:40.391" v="1243"/>
          <ac:spMkLst>
            <pc:docMk/>
            <pc:sldMk cId="3940888835" sldId="277"/>
            <ac:spMk id="5" creationId="{00000000-0000-0000-0000-000000000000}"/>
          </ac:spMkLst>
        </pc:spChg>
        <pc:spChg chg="mod">
          <ac:chgData name="丁豪" userId="16acd27a-f814-47b2-87cc-345dcffd6e32" providerId="ADAL" clId="{32430F52-30CF-4593-89F9-C4686409A511}" dt="2019-06-10T12:39:10.822" v="1114"/>
          <ac:spMkLst>
            <pc:docMk/>
            <pc:sldMk cId="3940888835" sldId="277"/>
            <ac:spMk id="6" creationId="{00000000-0000-0000-0000-000000000000}"/>
          </ac:spMkLst>
        </pc:spChg>
        <pc:spChg chg="mod">
          <ac:chgData name="丁豪" userId="16acd27a-f814-47b2-87cc-345dcffd6e32" providerId="ADAL" clId="{32430F52-30CF-4593-89F9-C4686409A511}" dt="2019-06-10T12:38:18.204" v="993" actId="20577"/>
          <ac:spMkLst>
            <pc:docMk/>
            <pc:sldMk cId="3940888835" sldId="277"/>
            <ac:spMk id="9" creationId="{04F69230-F3A6-4586-9371-A858F4763E9F}"/>
          </ac:spMkLst>
        </pc:spChg>
      </pc:sldChg>
      <pc:sldChg chg="addSp delSp modSp add del">
        <pc:chgData name="丁豪" userId="16acd27a-f814-47b2-87cc-345dcffd6e32" providerId="ADAL" clId="{32430F52-30CF-4593-89F9-C4686409A511}" dt="2019-06-10T12:35:59.641" v="847" actId="2696"/>
        <pc:sldMkLst>
          <pc:docMk/>
          <pc:sldMk cId="2990275803" sldId="278"/>
        </pc:sldMkLst>
        <pc:spChg chg="add del mod">
          <ac:chgData name="丁豪" userId="16acd27a-f814-47b2-87cc-345dcffd6e32" providerId="ADAL" clId="{32430F52-30CF-4593-89F9-C4686409A511}" dt="2019-06-10T12:34:14.317" v="751" actId="478"/>
          <ac:spMkLst>
            <pc:docMk/>
            <pc:sldMk cId="2990275803" sldId="278"/>
            <ac:spMk id="3" creationId="{70592338-3ED2-4288-914A-221A4DAB1FF4}"/>
          </ac:spMkLst>
        </pc:spChg>
        <pc:spChg chg="mod">
          <ac:chgData name="丁豪" userId="16acd27a-f814-47b2-87cc-345dcffd6e32" providerId="ADAL" clId="{32430F52-30CF-4593-89F9-C4686409A511}" dt="2019-06-10T12:34:44.477" v="844" actId="1076"/>
          <ac:spMkLst>
            <pc:docMk/>
            <pc:sldMk cId="2990275803" sldId="278"/>
            <ac:spMk id="5" creationId="{00000000-0000-0000-0000-000000000000}"/>
          </ac:spMkLst>
        </pc:spChg>
        <pc:spChg chg="del">
          <ac:chgData name="丁豪" userId="16acd27a-f814-47b2-87cc-345dcffd6e32" providerId="ADAL" clId="{32430F52-30CF-4593-89F9-C4686409A511}" dt="2019-06-10T12:34:12.542" v="750" actId="478"/>
          <ac:spMkLst>
            <pc:docMk/>
            <pc:sldMk cId="2990275803" sldId="278"/>
            <ac:spMk id="6" creationId="{00000000-0000-0000-0000-000000000000}"/>
          </ac:spMkLst>
        </pc:spChg>
        <pc:spChg chg="add mod">
          <ac:chgData name="丁豪" userId="16acd27a-f814-47b2-87cc-345dcffd6e32" providerId="ADAL" clId="{32430F52-30CF-4593-89F9-C4686409A511}" dt="2019-06-10T12:35:49.756" v="846" actId="1076"/>
          <ac:spMkLst>
            <pc:docMk/>
            <pc:sldMk cId="2990275803" sldId="278"/>
            <ac:spMk id="7" creationId="{40036B02-536B-4AF1-9019-6F51A02A7C50}"/>
          </ac:spMkLst>
        </pc:spChg>
        <pc:spChg chg="del">
          <ac:chgData name="丁豪" userId="16acd27a-f814-47b2-87cc-345dcffd6e32" providerId="ADAL" clId="{32430F52-30CF-4593-89F9-C4686409A511}" dt="2019-06-10T12:33:53.995" v="703" actId="478"/>
          <ac:spMkLst>
            <pc:docMk/>
            <pc:sldMk cId="2990275803" sldId="278"/>
            <ac:spMk id="9" creationId="{04F69230-F3A6-4586-9371-A858F4763E9F}"/>
          </ac:spMkLst>
        </pc:spChg>
      </pc:sldChg>
      <pc:sldChg chg="addSp delSp modSp add del">
        <pc:chgData name="丁豪" userId="16acd27a-f814-47b2-87cc-345dcffd6e32" providerId="ADAL" clId="{32430F52-30CF-4593-89F9-C4686409A511}" dt="2019-06-10T12:37:22.308" v="911" actId="2696"/>
        <pc:sldMkLst>
          <pc:docMk/>
          <pc:sldMk cId="3987208061" sldId="278"/>
        </pc:sldMkLst>
        <pc:spChg chg="add del mod">
          <ac:chgData name="丁豪" userId="16acd27a-f814-47b2-87cc-345dcffd6e32" providerId="ADAL" clId="{32430F52-30CF-4593-89F9-C4686409A511}" dt="2019-06-10T12:37:05.432" v="884"/>
          <ac:spMkLst>
            <pc:docMk/>
            <pc:sldMk cId="3987208061" sldId="278"/>
            <ac:spMk id="2" creationId="{6DEC28F6-A655-47DD-9A49-02CDC1CFE5DA}"/>
          </ac:spMkLst>
        </pc:spChg>
      </pc:sldChg>
      <pc:sldChg chg="addSp delSp modSp add">
        <pc:chgData name="丁豪" userId="16acd27a-f814-47b2-87cc-345dcffd6e32" providerId="ADAL" clId="{32430F52-30CF-4593-89F9-C4686409A511}" dt="2019-06-10T12:37:20.764" v="910" actId="478"/>
        <pc:sldMkLst>
          <pc:docMk/>
          <pc:sldMk cId="510977193" sldId="279"/>
        </pc:sldMkLst>
        <pc:spChg chg="mod">
          <ac:chgData name="丁豪" userId="16acd27a-f814-47b2-87cc-345dcffd6e32" providerId="ADAL" clId="{32430F52-30CF-4593-89F9-C4686409A511}" dt="2019-06-10T12:37:14.581" v="908"/>
          <ac:spMkLst>
            <pc:docMk/>
            <pc:sldMk cId="510977193" sldId="279"/>
            <ac:spMk id="2" creationId="{00000000-0000-0000-0000-000000000000}"/>
          </ac:spMkLst>
        </pc:spChg>
        <pc:spChg chg="del">
          <ac:chgData name="丁豪" userId="16acd27a-f814-47b2-87cc-345dcffd6e32" providerId="ADAL" clId="{32430F52-30CF-4593-89F9-C4686409A511}" dt="2019-06-10T12:37:20.764" v="910" actId="478"/>
          <ac:spMkLst>
            <pc:docMk/>
            <pc:sldMk cId="510977193" sldId="279"/>
            <ac:spMk id="3" creationId="{00000000-0000-0000-0000-000000000000}"/>
          </ac:spMkLst>
        </pc:spChg>
        <pc:spChg chg="add mod">
          <ac:chgData name="丁豪" userId="16acd27a-f814-47b2-87cc-345dcffd6e32" providerId="ADAL" clId="{32430F52-30CF-4593-89F9-C4686409A511}" dt="2019-06-10T12:37:18.503" v="909" actId="1076"/>
          <ac:spMkLst>
            <pc:docMk/>
            <pc:sldMk cId="510977193" sldId="279"/>
            <ac:spMk id="6" creationId="{BF0B2EF7-789C-4139-A562-AD2D5B5B7C61}"/>
          </ac:spMkLst>
        </pc:spChg>
        <pc:picChg chg="del">
          <ac:chgData name="丁豪" userId="16acd27a-f814-47b2-87cc-345dcffd6e32" providerId="ADAL" clId="{32430F52-30CF-4593-89F9-C4686409A511}" dt="2019-06-10T12:37:02.032" v="883" actId="478"/>
          <ac:picMkLst>
            <pc:docMk/>
            <pc:sldMk cId="510977193" sldId="279"/>
            <ac:picMk id="10" creationId="{B2A420B7-E435-40AE-AE60-15E757A5BC73}"/>
          </ac:picMkLst>
        </pc:picChg>
      </pc:sldChg>
      <pc:sldChg chg="addSp delSp modSp add">
        <pc:chgData name="丁豪" userId="16acd27a-f814-47b2-87cc-345dcffd6e32" providerId="ADAL" clId="{32430F52-30CF-4593-89F9-C4686409A511}" dt="2019-06-10T12:40:06.052" v="1129" actId="1076"/>
        <pc:sldMkLst>
          <pc:docMk/>
          <pc:sldMk cId="338331509" sldId="280"/>
        </pc:sldMkLst>
        <pc:picChg chg="add del mod">
          <ac:chgData name="丁豪" userId="16acd27a-f814-47b2-87cc-345dcffd6e32" providerId="ADAL" clId="{32430F52-30CF-4593-89F9-C4686409A511}" dt="2019-06-10T12:39:58.458" v="1125"/>
          <ac:picMkLst>
            <pc:docMk/>
            <pc:sldMk cId="338331509" sldId="280"/>
            <ac:picMk id="5" creationId="{F54CC87A-1481-4F5F-9101-0E9F4CCF0DB0}"/>
          </ac:picMkLst>
        </pc:picChg>
        <pc:picChg chg="add mod">
          <ac:chgData name="丁豪" userId="16acd27a-f814-47b2-87cc-345dcffd6e32" providerId="ADAL" clId="{32430F52-30CF-4593-89F9-C4686409A511}" dt="2019-06-10T12:40:06.052" v="1129" actId="1076"/>
          <ac:picMkLst>
            <pc:docMk/>
            <pc:sldMk cId="338331509" sldId="280"/>
            <ac:picMk id="7" creationId="{1A6FCE93-DAA3-4A1E-A80F-81C751456B12}"/>
          </ac:picMkLst>
        </pc:picChg>
        <pc:picChg chg="add del mod">
          <ac:chgData name="丁豪" userId="16acd27a-f814-47b2-87cc-345dcffd6e32" providerId="ADAL" clId="{32430F52-30CF-4593-89F9-C4686409A511}" dt="2019-06-10T12:39:50.514" v="1121"/>
          <ac:picMkLst>
            <pc:docMk/>
            <pc:sldMk cId="338331509" sldId="280"/>
            <ac:picMk id="9" creationId="{AB5C728D-A178-41B6-B502-F1FC81042835}"/>
          </ac:picMkLst>
        </pc:picChg>
      </pc:sldChg>
      <pc:sldChg chg="addSp delSp modSp add">
        <pc:chgData name="丁豪" userId="16acd27a-f814-47b2-87cc-345dcffd6e32" providerId="ADAL" clId="{32430F52-30CF-4593-89F9-C4686409A511}" dt="2019-06-10T12:42:53.918" v="1152" actId="1076"/>
        <pc:sldMkLst>
          <pc:docMk/>
          <pc:sldMk cId="1577968257" sldId="281"/>
        </pc:sldMkLst>
        <pc:spChg chg="del">
          <ac:chgData name="丁豪" userId="16acd27a-f814-47b2-87cc-345dcffd6e32" providerId="ADAL" clId="{32430F52-30CF-4593-89F9-C4686409A511}" dt="2019-06-10T12:42:34.057" v="1147" actId="478"/>
          <ac:spMkLst>
            <pc:docMk/>
            <pc:sldMk cId="1577968257" sldId="281"/>
            <ac:spMk id="2" creationId="{B3466B5A-FC67-44D2-B8E1-41AFE43D90E0}"/>
          </ac:spMkLst>
        </pc:spChg>
        <pc:spChg chg="del">
          <ac:chgData name="丁豪" userId="16acd27a-f814-47b2-87cc-345dcffd6e32" providerId="ADAL" clId="{32430F52-30CF-4593-89F9-C4686409A511}" dt="2019-06-10T12:42:35.485" v="1148" actId="478"/>
          <ac:spMkLst>
            <pc:docMk/>
            <pc:sldMk cId="1577968257" sldId="281"/>
            <ac:spMk id="3" creationId="{A1532ED1-4639-45CE-B546-ED4DB84C155A}"/>
          </ac:spMkLst>
        </pc:spChg>
        <pc:picChg chg="add del mod ord modCrop">
          <ac:chgData name="丁豪" userId="16acd27a-f814-47b2-87cc-345dcffd6e32" providerId="ADAL" clId="{32430F52-30CF-4593-89F9-C4686409A511}" dt="2019-06-10T12:42:52.475" v="1151" actId="1076"/>
          <ac:picMkLst>
            <pc:docMk/>
            <pc:sldMk cId="1577968257" sldId="281"/>
            <ac:picMk id="4" creationId="{0064042C-FA2F-4BC0-A854-297D94114499}"/>
          </ac:picMkLst>
        </pc:picChg>
        <pc:picChg chg="add mod modCrop">
          <ac:chgData name="丁豪" userId="16acd27a-f814-47b2-87cc-345dcffd6e32" providerId="ADAL" clId="{32430F52-30CF-4593-89F9-C4686409A511}" dt="2019-06-10T12:42:53.918" v="1152" actId="1076"/>
          <ac:picMkLst>
            <pc:docMk/>
            <pc:sldMk cId="1577968257" sldId="281"/>
            <ac:picMk id="5" creationId="{1C881EBC-FF99-42D6-AD11-2A8CF2471336}"/>
          </ac:picMkLst>
        </pc:picChg>
      </pc:sldChg>
      <pc:sldChg chg="addSp modSp add">
        <pc:chgData name="丁豪" userId="16acd27a-f814-47b2-87cc-345dcffd6e32" providerId="ADAL" clId="{32430F52-30CF-4593-89F9-C4686409A511}" dt="2019-06-10T12:45:30.960" v="1157" actId="14100"/>
        <pc:sldMkLst>
          <pc:docMk/>
          <pc:sldMk cId="899839052" sldId="282"/>
        </pc:sldMkLst>
        <pc:picChg chg="add mod">
          <ac:chgData name="丁豪" userId="16acd27a-f814-47b2-87cc-345dcffd6e32" providerId="ADAL" clId="{32430F52-30CF-4593-89F9-C4686409A511}" dt="2019-06-10T12:45:30.960" v="1157" actId="14100"/>
          <ac:picMkLst>
            <pc:docMk/>
            <pc:sldMk cId="899839052" sldId="282"/>
            <ac:picMk id="4" creationId="{A356112D-92FE-4ADD-AD5E-FA63572988ED}"/>
          </ac:picMkLst>
        </pc:picChg>
      </pc:sldChg>
      <pc:sldChg chg="addSp modSp add">
        <pc:chgData name="丁豪" userId="16acd27a-f814-47b2-87cc-345dcffd6e32" providerId="ADAL" clId="{32430F52-30CF-4593-89F9-C4686409A511}" dt="2019-06-10T12:46:52.943" v="1160" actId="1076"/>
        <pc:sldMkLst>
          <pc:docMk/>
          <pc:sldMk cId="2947766164" sldId="283"/>
        </pc:sldMkLst>
        <pc:picChg chg="add mod">
          <ac:chgData name="丁豪" userId="16acd27a-f814-47b2-87cc-345dcffd6e32" providerId="ADAL" clId="{32430F52-30CF-4593-89F9-C4686409A511}" dt="2019-06-10T12:46:52.943" v="1160" actId="1076"/>
          <ac:picMkLst>
            <pc:docMk/>
            <pc:sldMk cId="2947766164" sldId="283"/>
            <ac:picMk id="4" creationId="{962001F4-93F2-401E-B09F-58883E0062DF}"/>
          </ac:picMkLst>
        </pc:picChg>
      </pc:sldChg>
      <pc:sldChg chg="addSp delSp modSp add">
        <pc:chgData name="丁豪" userId="16acd27a-f814-47b2-87cc-345dcffd6e32" providerId="ADAL" clId="{32430F52-30CF-4593-89F9-C4686409A511}" dt="2019-06-10T12:49:03.695" v="1219"/>
        <pc:sldMkLst>
          <pc:docMk/>
          <pc:sldMk cId="722119485" sldId="284"/>
        </pc:sldMkLst>
        <pc:spChg chg="del">
          <ac:chgData name="丁豪" userId="16acd27a-f814-47b2-87cc-345dcffd6e32" providerId="ADAL" clId="{32430F52-30CF-4593-89F9-C4686409A511}" dt="2019-06-10T12:48:06.595" v="1164" actId="478"/>
          <ac:spMkLst>
            <pc:docMk/>
            <pc:sldMk cId="722119485" sldId="284"/>
            <ac:spMk id="2" creationId="{00000000-0000-0000-0000-000000000000}"/>
          </ac:spMkLst>
        </pc:spChg>
        <pc:spChg chg="add del mod">
          <ac:chgData name="丁豪" userId="16acd27a-f814-47b2-87cc-345dcffd6e32" providerId="ADAL" clId="{32430F52-30CF-4593-89F9-C4686409A511}" dt="2019-06-10T12:48:09.984" v="1166" actId="478"/>
          <ac:spMkLst>
            <pc:docMk/>
            <pc:sldMk cId="722119485" sldId="284"/>
            <ac:spMk id="5" creationId="{8654517F-3E09-4EF1-A669-A6DC6BA3211F}"/>
          </ac:spMkLst>
        </pc:spChg>
        <pc:spChg chg="del">
          <ac:chgData name="丁豪" userId="16acd27a-f814-47b2-87cc-345dcffd6e32" providerId="ADAL" clId="{32430F52-30CF-4593-89F9-C4686409A511}" dt="2019-06-10T12:48:08.117" v="1165" actId="478"/>
          <ac:spMkLst>
            <pc:docMk/>
            <pc:sldMk cId="722119485" sldId="284"/>
            <ac:spMk id="6" creationId="{BF0B2EF7-789C-4139-A562-AD2D5B5B7C61}"/>
          </ac:spMkLst>
        </pc:spChg>
        <pc:spChg chg="add mod">
          <ac:chgData name="丁豪" userId="16acd27a-f814-47b2-87cc-345dcffd6e32" providerId="ADAL" clId="{32430F52-30CF-4593-89F9-C4686409A511}" dt="2019-06-10T12:48:41.840" v="1173" actId="1076"/>
          <ac:spMkLst>
            <pc:docMk/>
            <pc:sldMk cId="722119485" sldId="284"/>
            <ac:spMk id="7" creationId="{B824EEBA-7FD4-448F-8CF9-9F8475B722ED}"/>
          </ac:spMkLst>
        </pc:spChg>
        <pc:spChg chg="add mod">
          <ac:chgData name="丁豪" userId="16acd27a-f814-47b2-87cc-345dcffd6e32" providerId="ADAL" clId="{32430F52-30CF-4593-89F9-C4686409A511}" dt="2019-06-10T12:49:03.695" v="1219"/>
          <ac:spMkLst>
            <pc:docMk/>
            <pc:sldMk cId="722119485" sldId="284"/>
            <ac:spMk id="8" creationId="{C5696A0B-1F9F-4528-B88F-090E406E46D4}"/>
          </ac:spMkLst>
        </pc:spChg>
      </pc:sldChg>
      <pc:sldChg chg="add del">
        <pc:chgData name="丁豪" userId="16acd27a-f814-47b2-87cc-345dcffd6e32" providerId="ADAL" clId="{32430F52-30CF-4593-89F9-C4686409A511}" dt="2019-06-10T12:47:55.331" v="1162" actId="2696"/>
        <pc:sldMkLst>
          <pc:docMk/>
          <pc:sldMk cId="1213465705" sldId="284"/>
        </pc:sldMkLst>
      </pc:sldChg>
      <pc:sldChg chg="addSp delSp modSp add">
        <pc:chgData name="丁豪" userId="16acd27a-f814-47b2-87cc-345dcffd6e32" providerId="ADAL" clId="{32430F52-30CF-4593-89F9-C4686409A511}" dt="2019-06-10T12:53:24.769" v="1570"/>
        <pc:sldMkLst>
          <pc:docMk/>
          <pc:sldMk cId="3848881188" sldId="285"/>
        </pc:sldMkLst>
        <pc:spChg chg="mod">
          <ac:chgData name="丁豪" userId="16acd27a-f814-47b2-87cc-345dcffd6e32" providerId="ADAL" clId="{32430F52-30CF-4593-89F9-C4686409A511}" dt="2019-06-10T12:53:19.869" v="1555"/>
          <ac:spMkLst>
            <pc:docMk/>
            <pc:sldMk cId="3848881188" sldId="285"/>
            <ac:spMk id="5" creationId="{00000000-0000-0000-0000-000000000000}"/>
          </ac:spMkLst>
        </pc:spChg>
        <pc:spChg chg="add del mod">
          <ac:chgData name="丁豪" userId="16acd27a-f814-47b2-87cc-345dcffd6e32" providerId="ADAL" clId="{32430F52-30CF-4593-89F9-C4686409A511}" dt="2019-06-10T12:53:24.769" v="1570"/>
          <ac:spMkLst>
            <pc:docMk/>
            <pc:sldMk cId="3848881188" sldId="285"/>
            <ac:spMk id="6" creationId="{00000000-0000-0000-0000-000000000000}"/>
          </ac:spMkLst>
        </pc:spChg>
        <pc:spChg chg="mod">
          <ac:chgData name="丁豪" userId="16acd27a-f814-47b2-87cc-345dcffd6e32" providerId="ADAL" clId="{32430F52-30CF-4593-89F9-C4686409A511}" dt="2019-06-10T12:49:53.297" v="1246" actId="20577"/>
          <ac:spMkLst>
            <pc:docMk/>
            <pc:sldMk cId="3848881188" sldId="285"/>
            <ac:spMk id="9" creationId="{04F69230-F3A6-4586-9371-A858F4763E9F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6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EDF33427-A729-487E-944F-F670922B0C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734550" cy="6858000"/>
          </a:xfrm>
          <a:prstGeom prst="rect">
            <a:avLst/>
          </a:prstGeom>
        </p:spPr>
      </p:pic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85006" y="1828891"/>
            <a:ext cx="10821988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85006" y="1130300"/>
            <a:ext cx="10821988" cy="698591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006" y="5544733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85006" y="5841004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652194" y="270707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653310" y="360242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215544EF-6E38-4470-8432-AF40D544BBDF}"/>
              </a:ext>
            </a:extLst>
          </p:cNvPr>
          <p:cNvGrpSpPr/>
          <p:nvPr userDrawn="1"/>
        </p:nvGrpSpPr>
        <p:grpSpPr>
          <a:xfrm>
            <a:off x="1048298" y="1362129"/>
            <a:ext cx="4269841" cy="4259865"/>
            <a:chOff x="3379788" y="717550"/>
            <a:chExt cx="5435600" cy="5422900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28602439-1C1B-42C6-97C5-210F65C7CD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08363" y="917575"/>
              <a:ext cx="5378450" cy="5022850"/>
            </a:xfrm>
            <a:custGeom>
              <a:avLst/>
              <a:gdLst>
                <a:gd name="T0" fmla="*/ 1688 w 1688"/>
                <a:gd name="T1" fmla="*/ 789 h 1578"/>
                <a:gd name="T2" fmla="*/ 1298 w 1688"/>
                <a:gd name="T3" fmla="*/ 1051 h 1578"/>
                <a:gd name="T4" fmla="*/ 1266 w 1688"/>
                <a:gd name="T5" fmla="*/ 1520 h 1578"/>
                <a:gd name="T6" fmla="*/ 844 w 1688"/>
                <a:gd name="T7" fmla="*/ 1313 h 1578"/>
                <a:gd name="T8" fmla="*/ 422 w 1688"/>
                <a:gd name="T9" fmla="*/ 1520 h 1578"/>
                <a:gd name="T10" fmla="*/ 390 w 1688"/>
                <a:gd name="T11" fmla="*/ 1051 h 1578"/>
                <a:gd name="T12" fmla="*/ 0 w 1688"/>
                <a:gd name="T13" fmla="*/ 789 h 1578"/>
                <a:gd name="T14" fmla="*/ 390 w 1688"/>
                <a:gd name="T15" fmla="*/ 527 h 1578"/>
                <a:gd name="T16" fmla="*/ 422 w 1688"/>
                <a:gd name="T17" fmla="*/ 58 h 1578"/>
                <a:gd name="T18" fmla="*/ 844 w 1688"/>
                <a:gd name="T19" fmla="*/ 265 h 1578"/>
                <a:gd name="T20" fmla="*/ 1266 w 1688"/>
                <a:gd name="T21" fmla="*/ 58 h 1578"/>
                <a:gd name="T22" fmla="*/ 1298 w 1688"/>
                <a:gd name="T23" fmla="*/ 527 h 1578"/>
                <a:gd name="T24" fmla="*/ 1688 w 1688"/>
                <a:gd name="T25" fmla="*/ 789 h 1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88" h="1578">
                  <a:moveTo>
                    <a:pt x="1688" y="789"/>
                  </a:moveTo>
                  <a:cubicBezTo>
                    <a:pt x="1688" y="914"/>
                    <a:pt x="1356" y="950"/>
                    <a:pt x="1298" y="1051"/>
                  </a:cubicBezTo>
                  <a:cubicBezTo>
                    <a:pt x="1238" y="1155"/>
                    <a:pt x="1370" y="1460"/>
                    <a:pt x="1266" y="1520"/>
                  </a:cubicBezTo>
                  <a:cubicBezTo>
                    <a:pt x="1166" y="1578"/>
                    <a:pt x="969" y="1313"/>
                    <a:pt x="844" y="1313"/>
                  </a:cubicBezTo>
                  <a:cubicBezTo>
                    <a:pt x="719" y="1313"/>
                    <a:pt x="522" y="1578"/>
                    <a:pt x="422" y="1520"/>
                  </a:cubicBezTo>
                  <a:cubicBezTo>
                    <a:pt x="318" y="1460"/>
                    <a:pt x="450" y="1155"/>
                    <a:pt x="390" y="1051"/>
                  </a:cubicBezTo>
                  <a:cubicBezTo>
                    <a:pt x="332" y="950"/>
                    <a:pt x="0" y="914"/>
                    <a:pt x="0" y="789"/>
                  </a:cubicBezTo>
                  <a:cubicBezTo>
                    <a:pt x="0" y="664"/>
                    <a:pt x="332" y="628"/>
                    <a:pt x="390" y="527"/>
                  </a:cubicBezTo>
                  <a:cubicBezTo>
                    <a:pt x="450" y="423"/>
                    <a:pt x="318" y="118"/>
                    <a:pt x="422" y="58"/>
                  </a:cubicBezTo>
                  <a:cubicBezTo>
                    <a:pt x="522" y="0"/>
                    <a:pt x="719" y="265"/>
                    <a:pt x="844" y="265"/>
                  </a:cubicBezTo>
                  <a:cubicBezTo>
                    <a:pt x="969" y="265"/>
                    <a:pt x="1166" y="0"/>
                    <a:pt x="1266" y="58"/>
                  </a:cubicBezTo>
                  <a:cubicBezTo>
                    <a:pt x="1370" y="118"/>
                    <a:pt x="1238" y="423"/>
                    <a:pt x="1298" y="527"/>
                  </a:cubicBezTo>
                  <a:cubicBezTo>
                    <a:pt x="1356" y="628"/>
                    <a:pt x="1688" y="664"/>
                    <a:pt x="1688" y="789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75112A1C-A447-4F1E-86D7-2E711F2DA0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92488" y="866775"/>
              <a:ext cx="5410200" cy="5124450"/>
            </a:xfrm>
            <a:custGeom>
              <a:avLst/>
              <a:gdLst>
                <a:gd name="T0" fmla="*/ 1692 w 1698"/>
                <a:gd name="T1" fmla="*/ 761 h 1610"/>
                <a:gd name="T2" fmla="*/ 1316 w 1698"/>
                <a:gd name="T3" fmla="*/ 1043 h 1610"/>
                <a:gd name="T4" fmla="*/ 1309 w 1698"/>
                <a:gd name="T5" fmla="*/ 1513 h 1610"/>
                <a:gd name="T6" fmla="*/ 876 w 1698"/>
                <a:gd name="T7" fmla="*/ 1328 h 1610"/>
                <a:gd name="T8" fmla="*/ 466 w 1698"/>
                <a:gd name="T9" fmla="*/ 1557 h 1610"/>
                <a:gd name="T10" fmla="*/ 409 w 1698"/>
                <a:gd name="T11" fmla="*/ 1090 h 1610"/>
                <a:gd name="T12" fmla="*/ 6 w 1698"/>
                <a:gd name="T13" fmla="*/ 849 h 1610"/>
                <a:gd name="T14" fmla="*/ 382 w 1698"/>
                <a:gd name="T15" fmla="*/ 567 h 1610"/>
                <a:gd name="T16" fmla="*/ 389 w 1698"/>
                <a:gd name="T17" fmla="*/ 97 h 1610"/>
                <a:gd name="T18" fmla="*/ 822 w 1698"/>
                <a:gd name="T19" fmla="*/ 282 h 1610"/>
                <a:gd name="T20" fmla="*/ 1232 w 1698"/>
                <a:gd name="T21" fmla="*/ 53 h 1610"/>
                <a:gd name="T22" fmla="*/ 1289 w 1698"/>
                <a:gd name="T23" fmla="*/ 520 h 1610"/>
                <a:gd name="T24" fmla="*/ 1692 w 1698"/>
                <a:gd name="T25" fmla="*/ 761 h 1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8" h="1610">
                  <a:moveTo>
                    <a:pt x="1692" y="761"/>
                  </a:moveTo>
                  <a:cubicBezTo>
                    <a:pt x="1698" y="885"/>
                    <a:pt x="1369" y="939"/>
                    <a:pt x="1316" y="1043"/>
                  </a:cubicBezTo>
                  <a:cubicBezTo>
                    <a:pt x="1262" y="1150"/>
                    <a:pt x="1409" y="1447"/>
                    <a:pt x="1309" y="1513"/>
                  </a:cubicBezTo>
                  <a:cubicBezTo>
                    <a:pt x="1211" y="1576"/>
                    <a:pt x="1001" y="1322"/>
                    <a:pt x="876" y="1328"/>
                  </a:cubicBezTo>
                  <a:cubicBezTo>
                    <a:pt x="752" y="1335"/>
                    <a:pt x="569" y="1610"/>
                    <a:pt x="466" y="1557"/>
                  </a:cubicBezTo>
                  <a:cubicBezTo>
                    <a:pt x="359" y="1503"/>
                    <a:pt x="475" y="1191"/>
                    <a:pt x="409" y="1090"/>
                  </a:cubicBezTo>
                  <a:cubicBezTo>
                    <a:pt x="346" y="993"/>
                    <a:pt x="13" y="974"/>
                    <a:pt x="6" y="849"/>
                  </a:cubicBezTo>
                  <a:cubicBezTo>
                    <a:pt x="0" y="725"/>
                    <a:pt x="329" y="671"/>
                    <a:pt x="382" y="567"/>
                  </a:cubicBezTo>
                  <a:cubicBezTo>
                    <a:pt x="436" y="460"/>
                    <a:pt x="289" y="163"/>
                    <a:pt x="389" y="97"/>
                  </a:cubicBezTo>
                  <a:cubicBezTo>
                    <a:pt x="487" y="34"/>
                    <a:pt x="697" y="288"/>
                    <a:pt x="822" y="282"/>
                  </a:cubicBezTo>
                  <a:cubicBezTo>
                    <a:pt x="946" y="275"/>
                    <a:pt x="1129" y="0"/>
                    <a:pt x="1232" y="53"/>
                  </a:cubicBezTo>
                  <a:cubicBezTo>
                    <a:pt x="1339" y="107"/>
                    <a:pt x="1223" y="419"/>
                    <a:pt x="1289" y="520"/>
                  </a:cubicBezTo>
                  <a:cubicBezTo>
                    <a:pt x="1352" y="617"/>
                    <a:pt x="1685" y="636"/>
                    <a:pt x="1692" y="761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8860E805-3C85-4EB6-BD84-57AD8DD9ED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82963" y="825500"/>
              <a:ext cx="5429250" cy="5207000"/>
            </a:xfrm>
            <a:custGeom>
              <a:avLst/>
              <a:gdLst>
                <a:gd name="T0" fmla="*/ 1691 w 1704"/>
                <a:gd name="T1" fmla="*/ 730 h 1636"/>
                <a:gd name="T2" fmla="*/ 1331 w 1704"/>
                <a:gd name="T3" fmla="*/ 1031 h 1636"/>
                <a:gd name="T4" fmla="*/ 1348 w 1704"/>
                <a:gd name="T5" fmla="*/ 1501 h 1636"/>
                <a:gd name="T6" fmla="*/ 907 w 1704"/>
                <a:gd name="T7" fmla="*/ 1339 h 1636"/>
                <a:gd name="T8" fmla="*/ 509 w 1704"/>
                <a:gd name="T9" fmla="*/ 1589 h 1636"/>
                <a:gd name="T10" fmla="*/ 428 w 1704"/>
                <a:gd name="T11" fmla="*/ 1126 h 1636"/>
                <a:gd name="T12" fmla="*/ 13 w 1704"/>
                <a:gd name="T13" fmla="*/ 906 h 1636"/>
                <a:gd name="T14" fmla="*/ 373 w 1704"/>
                <a:gd name="T15" fmla="*/ 605 h 1636"/>
                <a:gd name="T16" fmla="*/ 356 w 1704"/>
                <a:gd name="T17" fmla="*/ 135 h 1636"/>
                <a:gd name="T18" fmla="*/ 797 w 1704"/>
                <a:gd name="T19" fmla="*/ 297 h 1636"/>
                <a:gd name="T20" fmla="*/ 1195 w 1704"/>
                <a:gd name="T21" fmla="*/ 47 h 1636"/>
                <a:gd name="T22" fmla="*/ 1276 w 1704"/>
                <a:gd name="T23" fmla="*/ 510 h 1636"/>
                <a:gd name="T24" fmla="*/ 1691 w 1704"/>
                <a:gd name="T25" fmla="*/ 730 h 1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4" h="1636">
                  <a:moveTo>
                    <a:pt x="1691" y="730"/>
                  </a:moveTo>
                  <a:cubicBezTo>
                    <a:pt x="1704" y="854"/>
                    <a:pt x="1378" y="925"/>
                    <a:pt x="1331" y="1031"/>
                  </a:cubicBezTo>
                  <a:cubicBezTo>
                    <a:pt x="1282" y="1141"/>
                    <a:pt x="1445" y="1430"/>
                    <a:pt x="1348" y="1501"/>
                  </a:cubicBezTo>
                  <a:cubicBezTo>
                    <a:pt x="1254" y="1569"/>
                    <a:pt x="1031" y="1326"/>
                    <a:pt x="907" y="1339"/>
                  </a:cubicBezTo>
                  <a:cubicBezTo>
                    <a:pt x="783" y="1352"/>
                    <a:pt x="615" y="1636"/>
                    <a:pt x="509" y="1589"/>
                  </a:cubicBezTo>
                  <a:cubicBezTo>
                    <a:pt x="399" y="1540"/>
                    <a:pt x="498" y="1223"/>
                    <a:pt x="428" y="1126"/>
                  </a:cubicBezTo>
                  <a:cubicBezTo>
                    <a:pt x="359" y="1032"/>
                    <a:pt x="26" y="1030"/>
                    <a:pt x="13" y="906"/>
                  </a:cubicBezTo>
                  <a:cubicBezTo>
                    <a:pt x="0" y="782"/>
                    <a:pt x="326" y="711"/>
                    <a:pt x="373" y="605"/>
                  </a:cubicBezTo>
                  <a:cubicBezTo>
                    <a:pt x="422" y="495"/>
                    <a:pt x="259" y="206"/>
                    <a:pt x="356" y="135"/>
                  </a:cubicBezTo>
                  <a:cubicBezTo>
                    <a:pt x="450" y="67"/>
                    <a:pt x="673" y="310"/>
                    <a:pt x="797" y="297"/>
                  </a:cubicBezTo>
                  <a:cubicBezTo>
                    <a:pt x="921" y="284"/>
                    <a:pt x="1089" y="0"/>
                    <a:pt x="1195" y="47"/>
                  </a:cubicBezTo>
                  <a:cubicBezTo>
                    <a:pt x="1305" y="96"/>
                    <a:pt x="1206" y="413"/>
                    <a:pt x="1276" y="510"/>
                  </a:cubicBezTo>
                  <a:cubicBezTo>
                    <a:pt x="1345" y="604"/>
                    <a:pt x="1678" y="606"/>
                    <a:pt x="1691" y="730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ECE0B88-ACC2-49F8-8E8C-863B064668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79788" y="787400"/>
              <a:ext cx="5435600" cy="5283200"/>
            </a:xfrm>
            <a:custGeom>
              <a:avLst/>
              <a:gdLst>
                <a:gd name="T0" fmla="*/ 1687 w 1706"/>
                <a:gd name="T1" fmla="*/ 698 h 1660"/>
                <a:gd name="T2" fmla="*/ 1342 w 1706"/>
                <a:gd name="T3" fmla="*/ 1018 h 1660"/>
                <a:gd name="T4" fmla="*/ 1384 w 1706"/>
                <a:gd name="T5" fmla="*/ 1486 h 1660"/>
                <a:gd name="T6" fmla="*/ 935 w 1706"/>
                <a:gd name="T7" fmla="*/ 1348 h 1660"/>
                <a:gd name="T8" fmla="*/ 550 w 1706"/>
                <a:gd name="T9" fmla="*/ 1618 h 1660"/>
                <a:gd name="T10" fmla="*/ 446 w 1706"/>
                <a:gd name="T11" fmla="*/ 1160 h 1660"/>
                <a:gd name="T12" fmla="*/ 19 w 1706"/>
                <a:gd name="T13" fmla="*/ 962 h 1660"/>
                <a:gd name="T14" fmla="*/ 364 w 1706"/>
                <a:gd name="T15" fmla="*/ 642 h 1660"/>
                <a:gd name="T16" fmla="*/ 322 w 1706"/>
                <a:gd name="T17" fmla="*/ 174 h 1660"/>
                <a:gd name="T18" fmla="*/ 771 w 1706"/>
                <a:gd name="T19" fmla="*/ 312 h 1660"/>
                <a:gd name="T20" fmla="*/ 1156 w 1706"/>
                <a:gd name="T21" fmla="*/ 42 h 1660"/>
                <a:gd name="T22" fmla="*/ 1260 w 1706"/>
                <a:gd name="T23" fmla="*/ 500 h 1660"/>
                <a:gd name="T24" fmla="*/ 1687 w 1706"/>
                <a:gd name="T25" fmla="*/ 698 h 1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6" h="1660">
                  <a:moveTo>
                    <a:pt x="1687" y="698"/>
                  </a:moveTo>
                  <a:cubicBezTo>
                    <a:pt x="1706" y="821"/>
                    <a:pt x="1384" y="909"/>
                    <a:pt x="1342" y="1018"/>
                  </a:cubicBezTo>
                  <a:cubicBezTo>
                    <a:pt x="1299" y="1130"/>
                    <a:pt x="1477" y="1410"/>
                    <a:pt x="1384" y="1486"/>
                  </a:cubicBezTo>
                  <a:cubicBezTo>
                    <a:pt x="1294" y="1559"/>
                    <a:pt x="1058" y="1328"/>
                    <a:pt x="935" y="1348"/>
                  </a:cubicBezTo>
                  <a:cubicBezTo>
                    <a:pt x="812" y="1367"/>
                    <a:pt x="659" y="1660"/>
                    <a:pt x="550" y="1618"/>
                  </a:cubicBezTo>
                  <a:cubicBezTo>
                    <a:pt x="438" y="1575"/>
                    <a:pt x="521" y="1253"/>
                    <a:pt x="446" y="1160"/>
                  </a:cubicBezTo>
                  <a:cubicBezTo>
                    <a:pt x="372" y="1069"/>
                    <a:pt x="39" y="1085"/>
                    <a:pt x="19" y="962"/>
                  </a:cubicBezTo>
                  <a:cubicBezTo>
                    <a:pt x="0" y="839"/>
                    <a:pt x="322" y="751"/>
                    <a:pt x="364" y="642"/>
                  </a:cubicBezTo>
                  <a:cubicBezTo>
                    <a:pt x="407" y="530"/>
                    <a:pt x="229" y="250"/>
                    <a:pt x="322" y="174"/>
                  </a:cubicBezTo>
                  <a:cubicBezTo>
                    <a:pt x="412" y="101"/>
                    <a:pt x="648" y="332"/>
                    <a:pt x="771" y="312"/>
                  </a:cubicBezTo>
                  <a:cubicBezTo>
                    <a:pt x="894" y="293"/>
                    <a:pt x="1047" y="0"/>
                    <a:pt x="1156" y="42"/>
                  </a:cubicBezTo>
                  <a:cubicBezTo>
                    <a:pt x="1268" y="85"/>
                    <a:pt x="1185" y="407"/>
                    <a:pt x="1260" y="500"/>
                  </a:cubicBezTo>
                  <a:cubicBezTo>
                    <a:pt x="1334" y="591"/>
                    <a:pt x="1667" y="575"/>
                    <a:pt x="1687" y="698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B99F65E3-413A-49C9-AE8E-988BB87B3F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86138" y="758825"/>
              <a:ext cx="5422900" cy="5340350"/>
            </a:xfrm>
            <a:custGeom>
              <a:avLst/>
              <a:gdLst>
                <a:gd name="T0" fmla="*/ 1677 w 1702"/>
                <a:gd name="T1" fmla="*/ 664 h 1678"/>
                <a:gd name="T2" fmla="*/ 1350 w 1702"/>
                <a:gd name="T3" fmla="*/ 1001 h 1678"/>
                <a:gd name="T4" fmla="*/ 1416 w 1702"/>
                <a:gd name="T5" fmla="*/ 1466 h 1678"/>
                <a:gd name="T6" fmla="*/ 960 w 1702"/>
                <a:gd name="T7" fmla="*/ 1352 h 1678"/>
                <a:gd name="T8" fmla="*/ 590 w 1702"/>
                <a:gd name="T9" fmla="*/ 1642 h 1678"/>
                <a:gd name="T10" fmla="*/ 461 w 1702"/>
                <a:gd name="T11" fmla="*/ 1190 h 1678"/>
                <a:gd name="T12" fmla="*/ 25 w 1702"/>
                <a:gd name="T13" fmla="*/ 1014 h 1678"/>
                <a:gd name="T14" fmla="*/ 352 w 1702"/>
                <a:gd name="T15" fmla="*/ 677 h 1678"/>
                <a:gd name="T16" fmla="*/ 286 w 1702"/>
                <a:gd name="T17" fmla="*/ 212 h 1678"/>
                <a:gd name="T18" fmla="*/ 742 w 1702"/>
                <a:gd name="T19" fmla="*/ 326 h 1678"/>
                <a:gd name="T20" fmla="*/ 1112 w 1702"/>
                <a:gd name="T21" fmla="*/ 36 h 1678"/>
                <a:gd name="T22" fmla="*/ 1241 w 1702"/>
                <a:gd name="T23" fmla="*/ 488 h 1678"/>
                <a:gd name="T24" fmla="*/ 1677 w 1702"/>
                <a:gd name="T25" fmla="*/ 664 h 1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2" h="1678">
                  <a:moveTo>
                    <a:pt x="1677" y="664"/>
                  </a:moveTo>
                  <a:cubicBezTo>
                    <a:pt x="1702" y="785"/>
                    <a:pt x="1386" y="890"/>
                    <a:pt x="1350" y="1001"/>
                  </a:cubicBezTo>
                  <a:cubicBezTo>
                    <a:pt x="1312" y="1115"/>
                    <a:pt x="1505" y="1386"/>
                    <a:pt x="1416" y="1466"/>
                  </a:cubicBezTo>
                  <a:cubicBezTo>
                    <a:pt x="1330" y="1544"/>
                    <a:pt x="1082" y="1326"/>
                    <a:pt x="960" y="1352"/>
                  </a:cubicBezTo>
                  <a:cubicBezTo>
                    <a:pt x="838" y="1377"/>
                    <a:pt x="701" y="1678"/>
                    <a:pt x="590" y="1642"/>
                  </a:cubicBezTo>
                  <a:cubicBezTo>
                    <a:pt x="476" y="1605"/>
                    <a:pt x="542" y="1279"/>
                    <a:pt x="461" y="1190"/>
                  </a:cubicBezTo>
                  <a:cubicBezTo>
                    <a:pt x="384" y="1103"/>
                    <a:pt x="51" y="1136"/>
                    <a:pt x="25" y="1014"/>
                  </a:cubicBezTo>
                  <a:cubicBezTo>
                    <a:pt x="0" y="893"/>
                    <a:pt x="316" y="788"/>
                    <a:pt x="352" y="677"/>
                  </a:cubicBezTo>
                  <a:cubicBezTo>
                    <a:pt x="390" y="563"/>
                    <a:pt x="197" y="292"/>
                    <a:pt x="286" y="212"/>
                  </a:cubicBezTo>
                  <a:cubicBezTo>
                    <a:pt x="372" y="134"/>
                    <a:pt x="620" y="352"/>
                    <a:pt x="742" y="326"/>
                  </a:cubicBezTo>
                  <a:cubicBezTo>
                    <a:pt x="864" y="301"/>
                    <a:pt x="1001" y="0"/>
                    <a:pt x="1112" y="36"/>
                  </a:cubicBezTo>
                  <a:cubicBezTo>
                    <a:pt x="1226" y="73"/>
                    <a:pt x="1160" y="399"/>
                    <a:pt x="1241" y="488"/>
                  </a:cubicBezTo>
                  <a:cubicBezTo>
                    <a:pt x="1318" y="575"/>
                    <a:pt x="1651" y="542"/>
                    <a:pt x="1677" y="664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06FC64C6-69A1-4AD7-AB5A-73DEFB20C0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98838" y="736600"/>
              <a:ext cx="5397500" cy="5384800"/>
            </a:xfrm>
            <a:custGeom>
              <a:avLst/>
              <a:gdLst>
                <a:gd name="T0" fmla="*/ 1662 w 1694"/>
                <a:gd name="T1" fmla="*/ 628 h 1692"/>
                <a:gd name="T2" fmla="*/ 1353 w 1694"/>
                <a:gd name="T3" fmla="*/ 981 h 1692"/>
                <a:gd name="T4" fmla="*/ 1444 w 1694"/>
                <a:gd name="T5" fmla="*/ 1443 h 1692"/>
                <a:gd name="T6" fmla="*/ 983 w 1694"/>
                <a:gd name="T7" fmla="*/ 1352 h 1692"/>
                <a:gd name="T8" fmla="*/ 628 w 1694"/>
                <a:gd name="T9" fmla="*/ 1661 h 1692"/>
                <a:gd name="T10" fmla="*/ 476 w 1694"/>
                <a:gd name="T11" fmla="*/ 1216 h 1692"/>
                <a:gd name="T12" fmla="*/ 32 w 1694"/>
                <a:gd name="T13" fmla="*/ 1064 h 1692"/>
                <a:gd name="T14" fmla="*/ 341 w 1694"/>
                <a:gd name="T15" fmla="*/ 711 h 1692"/>
                <a:gd name="T16" fmla="*/ 250 w 1694"/>
                <a:gd name="T17" fmla="*/ 249 h 1692"/>
                <a:gd name="T18" fmla="*/ 711 w 1694"/>
                <a:gd name="T19" fmla="*/ 340 h 1692"/>
                <a:gd name="T20" fmla="*/ 1066 w 1694"/>
                <a:gd name="T21" fmla="*/ 31 h 1692"/>
                <a:gd name="T22" fmla="*/ 1218 w 1694"/>
                <a:gd name="T23" fmla="*/ 476 h 1692"/>
                <a:gd name="T24" fmla="*/ 1662 w 1694"/>
                <a:gd name="T25" fmla="*/ 628 h 1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4" h="1692">
                  <a:moveTo>
                    <a:pt x="1662" y="628"/>
                  </a:moveTo>
                  <a:cubicBezTo>
                    <a:pt x="1694" y="748"/>
                    <a:pt x="1383" y="869"/>
                    <a:pt x="1353" y="981"/>
                  </a:cubicBezTo>
                  <a:cubicBezTo>
                    <a:pt x="1322" y="1097"/>
                    <a:pt x="1529" y="1358"/>
                    <a:pt x="1444" y="1443"/>
                  </a:cubicBezTo>
                  <a:cubicBezTo>
                    <a:pt x="1362" y="1525"/>
                    <a:pt x="1103" y="1320"/>
                    <a:pt x="983" y="1352"/>
                  </a:cubicBezTo>
                  <a:cubicBezTo>
                    <a:pt x="862" y="1384"/>
                    <a:pt x="741" y="1692"/>
                    <a:pt x="628" y="1661"/>
                  </a:cubicBezTo>
                  <a:cubicBezTo>
                    <a:pt x="513" y="1630"/>
                    <a:pt x="561" y="1301"/>
                    <a:pt x="476" y="1216"/>
                  </a:cubicBezTo>
                  <a:cubicBezTo>
                    <a:pt x="394" y="1134"/>
                    <a:pt x="64" y="1185"/>
                    <a:pt x="32" y="1064"/>
                  </a:cubicBezTo>
                  <a:cubicBezTo>
                    <a:pt x="0" y="944"/>
                    <a:pt x="311" y="823"/>
                    <a:pt x="341" y="711"/>
                  </a:cubicBezTo>
                  <a:cubicBezTo>
                    <a:pt x="372" y="595"/>
                    <a:pt x="165" y="334"/>
                    <a:pt x="250" y="249"/>
                  </a:cubicBezTo>
                  <a:cubicBezTo>
                    <a:pt x="332" y="167"/>
                    <a:pt x="591" y="372"/>
                    <a:pt x="711" y="340"/>
                  </a:cubicBezTo>
                  <a:cubicBezTo>
                    <a:pt x="832" y="308"/>
                    <a:pt x="953" y="0"/>
                    <a:pt x="1066" y="31"/>
                  </a:cubicBezTo>
                  <a:cubicBezTo>
                    <a:pt x="1181" y="62"/>
                    <a:pt x="1133" y="391"/>
                    <a:pt x="1218" y="476"/>
                  </a:cubicBezTo>
                  <a:cubicBezTo>
                    <a:pt x="1300" y="558"/>
                    <a:pt x="1630" y="507"/>
                    <a:pt x="1662" y="628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F23CD053-5D7A-47C6-90B3-999F8AC2D2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7888" y="723900"/>
              <a:ext cx="5359400" cy="5410200"/>
            </a:xfrm>
            <a:custGeom>
              <a:avLst/>
              <a:gdLst>
                <a:gd name="T0" fmla="*/ 1644 w 1682"/>
                <a:gd name="T1" fmla="*/ 589 h 1700"/>
                <a:gd name="T2" fmla="*/ 1354 w 1682"/>
                <a:gd name="T3" fmla="*/ 959 h 1700"/>
                <a:gd name="T4" fmla="*/ 1468 w 1682"/>
                <a:gd name="T5" fmla="*/ 1415 h 1700"/>
                <a:gd name="T6" fmla="*/ 1003 w 1682"/>
                <a:gd name="T7" fmla="*/ 1348 h 1700"/>
                <a:gd name="T8" fmla="*/ 665 w 1682"/>
                <a:gd name="T9" fmla="*/ 1676 h 1700"/>
                <a:gd name="T10" fmla="*/ 490 w 1682"/>
                <a:gd name="T11" fmla="*/ 1239 h 1700"/>
                <a:gd name="T12" fmla="*/ 38 w 1682"/>
                <a:gd name="T13" fmla="*/ 1111 h 1700"/>
                <a:gd name="T14" fmla="*/ 328 w 1682"/>
                <a:gd name="T15" fmla="*/ 741 h 1700"/>
                <a:gd name="T16" fmla="*/ 214 w 1682"/>
                <a:gd name="T17" fmla="*/ 285 h 1700"/>
                <a:gd name="T18" fmla="*/ 679 w 1682"/>
                <a:gd name="T19" fmla="*/ 352 h 1700"/>
                <a:gd name="T20" fmla="*/ 1017 w 1682"/>
                <a:gd name="T21" fmla="*/ 24 h 1700"/>
                <a:gd name="T22" fmla="*/ 1192 w 1682"/>
                <a:gd name="T23" fmla="*/ 461 h 1700"/>
                <a:gd name="T24" fmla="*/ 1644 w 1682"/>
                <a:gd name="T25" fmla="*/ 589 h 1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82" h="1700">
                  <a:moveTo>
                    <a:pt x="1644" y="589"/>
                  </a:moveTo>
                  <a:cubicBezTo>
                    <a:pt x="1682" y="708"/>
                    <a:pt x="1378" y="845"/>
                    <a:pt x="1354" y="959"/>
                  </a:cubicBezTo>
                  <a:cubicBezTo>
                    <a:pt x="1329" y="1076"/>
                    <a:pt x="1549" y="1326"/>
                    <a:pt x="1468" y="1415"/>
                  </a:cubicBezTo>
                  <a:cubicBezTo>
                    <a:pt x="1391" y="1501"/>
                    <a:pt x="1121" y="1310"/>
                    <a:pt x="1003" y="1348"/>
                  </a:cubicBezTo>
                  <a:cubicBezTo>
                    <a:pt x="884" y="1387"/>
                    <a:pt x="779" y="1700"/>
                    <a:pt x="665" y="1676"/>
                  </a:cubicBezTo>
                  <a:cubicBezTo>
                    <a:pt x="548" y="1651"/>
                    <a:pt x="579" y="1320"/>
                    <a:pt x="490" y="1239"/>
                  </a:cubicBezTo>
                  <a:cubicBezTo>
                    <a:pt x="404" y="1162"/>
                    <a:pt x="77" y="1229"/>
                    <a:pt x="38" y="1111"/>
                  </a:cubicBezTo>
                  <a:cubicBezTo>
                    <a:pt x="0" y="992"/>
                    <a:pt x="304" y="855"/>
                    <a:pt x="328" y="741"/>
                  </a:cubicBezTo>
                  <a:cubicBezTo>
                    <a:pt x="353" y="624"/>
                    <a:pt x="133" y="374"/>
                    <a:pt x="214" y="285"/>
                  </a:cubicBezTo>
                  <a:cubicBezTo>
                    <a:pt x="291" y="199"/>
                    <a:pt x="561" y="390"/>
                    <a:pt x="679" y="352"/>
                  </a:cubicBezTo>
                  <a:cubicBezTo>
                    <a:pt x="798" y="313"/>
                    <a:pt x="903" y="0"/>
                    <a:pt x="1017" y="24"/>
                  </a:cubicBezTo>
                  <a:cubicBezTo>
                    <a:pt x="1134" y="49"/>
                    <a:pt x="1103" y="380"/>
                    <a:pt x="1192" y="461"/>
                  </a:cubicBezTo>
                  <a:cubicBezTo>
                    <a:pt x="1278" y="538"/>
                    <a:pt x="1605" y="471"/>
                    <a:pt x="1644" y="589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7ED9278C-2F04-451A-9CB2-F8A905B7CF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3288" y="717550"/>
              <a:ext cx="5308600" cy="5422900"/>
            </a:xfrm>
            <a:custGeom>
              <a:avLst/>
              <a:gdLst>
                <a:gd name="T0" fmla="*/ 1621 w 1666"/>
                <a:gd name="T1" fmla="*/ 550 h 1704"/>
                <a:gd name="T2" fmla="*/ 1351 w 1666"/>
                <a:gd name="T3" fmla="*/ 934 h 1704"/>
                <a:gd name="T4" fmla="*/ 1489 w 1666"/>
                <a:gd name="T5" fmla="*/ 1383 h 1704"/>
                <a:gd name="T6" fmla="*/ 1021 w 1666"/>
                <a:gd name="T7" fmla="*/ 1341 h 1704"/>
                <a:gd name="T8" fmla="*/ 701 w 1666"/>
                <a:gd name="T9" fmla="*/ 1686 h 1704"/>
                <a:gd name="T10" fmla="*/ 503 w 1666"/>
                <a:gd name="T11" fmla="*/ 1259 h 1704"/>
                <a:gd name="T12" fmla="*/ 45 w 1666"/>
                <a:gd name="T13" fmla="*/ 1154 h 1704"/>
                <a:gd name="T14" fmla="*/ 315 w 1666"/>
                <a:gd name="T15" fmla="*/ 770 h 1704"/>
                <a:gd name="T16" fmla="*/ 177 w 1666"/>
                <a:gd name="T17" fmla="*/ 321 h 1704"/>
                <a:gd name="T18" fmla="*/ 645 w 1666"/>
                <a:gd name="T19" fmla="*/ 363 h 1704"/>
                <a:gd name="T20" fmla="*/ 965 w 1666"/>
                <a:gd name="T21" fmla="*/ 18 h 1704"/>
                <a:gd name="T22" fmla="*/ 1163 w 1666"/>
                <a:gd name="T23" fmla="*/ 445 h 1704"/>
                <a:gd name="T24" fmla="*/ 1621 w 1666"/>
                <a:gd name="T25" fmla="*/ 550 h 1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6" h="1704">
                  <a:moveTo>
                    <a:pt x="1621" y="550"/>
                  </a:moveTo>
                  <a:cubicBezTo>
                    <a:pt x="1666" y="666"/>
                    <a:pt x="1369" y="819"/>
                    <a:pt x="1351" y="934"/>
                  </a:cubicBezTo>
                  <a:cubicBezTo>
                    <a:pt x="1332" y="1052"/>
                    <a:pt x="1564" y="1290"/>
                    <a:pt x="1489" y="1383"/>
                  </a:cubicBezTo>
                  <a:cubicBezTo>
                    <a:pt x="1416" y="1474"/>
                    <a:pt x="1137" y="1297"/>
                    <a:pt x="1021" y="1341"/>
                  </a:cubicBezTo>
                  <a:cubicBezTo>
                    <a:pt x="904" y="1386"/>
                    <a:pt x="816" y="1704"/>
                    <a:pt x="701" y="1686"/>
                  </a:cubicBezTo>
                  <a:cubicBezTo>
                    <a:pt x="582" y="1667"/>
                    <a:pt x="596" y="1335"/>
                    <a:pt x="503" y="1259"/>
                  </a:cubicBezTo>
                  <a:cubicBezTo>
                    <a:pt x="413" y="1186"/>
                    <a:pt x="90" y="1271"/>
                    <a:pt x="45" y="1154"/>
                  </a:cubicBezTo>
                  <a:cubicBezTo>
                    <a:pt x="0" y="1038"/>
                    <a:pt x="297" y="885"/>
                    <a:pt x="315" y="770"/>
                  </a:cubicBezTo>
                  <a:cubicBezTo>
                    <a:pt x="334" y="652"/>
                    <a:pt x="102" y="414"/>
                    <a:pt x="177" y="321"/>
                  </a:cubicBezTo>
                  <a:cubicBezTo>
                    <a:pt x="250" y="230"/>
                    <a:pt x="529" y="407"/>
                    <a:pt x="645" y="363"/>
                  </a:cubicBezTo>
                  <a:cubicBezTo>
                    <a:pt x="762" y="318"/>
                    <a:pt x="850" y="0"/>
                    <a:pt x="965" y="18"/>
                  </a:cubicBezTo>
                  <a:cubicBezTo>
                    <a:pt x="1084" y="37"/>
                    <a:pt x="1070" y="369"/>
                    <a:pt x="1163" y="445"/>
                  </a:cubicBezTo>
                  <a:cubicBezTo>
                    <a:pt x="1253" y="518"/>
                    <a:pt x="1576" y="433"/>
                    <a:pt x="1621" y="550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FEC75980-95A1-46C2-85CD-FB6A01B3ED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78213" y="717550"/>
              <a:ext cx="5238750" cy="5422900"/>
            </a:xfrm>
            <a:custGeom>
              <a:avLst/>
              <a:gdLst>
                <a:gd name="T0" fmla="*/ 1593 w 1644"/>
                <a:gd name="T1" fmla="*/ 509 h 1704"/>
                <a:gd name="T2" fmla="*/ 1343 w 1644"/>
                <a:gd name="T3" fmla="*/ 907 h 1704"/>
                <a:gd name="T4" fmla="*/ 1505 w 1644"/>
                <a:gd name="T5" fmla="*/ 1348 h 1704"/>
                <a:gd name="T6" fmla="*/ 1035 w 1644"/>
                <a:gd name="T7" fmla="*/ 1331 h 1704"/>
                <a:gd name="T8" fmla="*/ 734 w 1644"/>
                <a:gd name="T9" fmla="*/ 1691 h 1704"/>
                <a:gd name="T10" fmla="*/ 514 w 1644"/>
                <a:gd name="T11" fmla="*/ 1276 h 1704"/>
                <a:gd name="T12" fmla="*/ 51 w 1644"/>
                <a:gd name="T13" fmla="*/ 1195 h 1704"/>
                <a:gd name="T14" fmla="*/ 301 w 1644"/>
                <a:gd name="T15" fmla="*/ 797 h 1704"/>
                <a:gd name="T16" fmla="*/ 139 w 1644"/>
                <a:gd name="T17" fmla="*/ 356 h 1704"/>
                <a:gd name="T18" fmla="*/ 609 w 1644"/>
                <a:gd name="T19" fmla="*/ 373 h 1704"/>
                <a:gd name="T20" fmla="*/ 910 w 1644"/>
                <a:gd name="T21" fmla="*/ 13 h 1704"/>
                <a:gd name="T22" fmla="*/ 1130 w 1644"/>
                <a:gd name="T23" fmla="*/ 428 h 1704"/>
                <a:gd name="T24" fmla="*/ 1593 w 1644"/>
                <a:gd name="T25" fmla="*/ 509 h 1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44" h="1704">
                  <a:moveTo>
                    <a:pt x="1593" y="509"/>
                  </a:moveTo>
                  <a:cubicBezTo>
                    <a:pt x="1644" y="623"/>
                    <a:pt x="1356" y="791"/>
                    <a:pt x="1343" y="907"/>
                  </a:cubicBezTo>
                  <a:cubicBezTo>
                    <a:pt x="1331" y="1026"/>
                    <a:pt x="1575" y="1251"/>
                    <a:pt x="1505" y="1348"/>
                  </a:cubicBezTo>
                  <a:cubicBezTo>
                    <a:pt x="1437" y="1442"/>
                    <a:pt x="1149" y="1280"/>
                    <a:pt x="1035" y="1331"/>
                  </a:cubicBezTo>
                  <a:cubicBezTo>
                    <a:pt x="921" y="1381"/>
                    <a:pt x="849" y="1704"/>
                    <a:pt x="734" y="1691"/>
                  </a:cubicBezTo>
                  <a:cubicBezTo>
                    <a:pt x="614" y="1679"/>
                    <a:pt x="611" y="1346"/>
                    <a:pt x="514" y="1276"/>
                  </a:cubicBezTo>
                  <a:cubicBezTo>
                    <a:pt x="420" y="1208"/>
                    <a:pt x="102" y="1309"/>
                    <a:pt x="51" y="1195"/>
                  </a:cubicBezTo>
                  <a:cubicBezTo>
                    <a:pt x="0" y="1081"/>
                    <a:pt x="288" y="913"/>
                    <a:pt x="301" y="797"/>
                  </a:cubicBezTo>
                  <a:cubicBezTo>
                    <a:pt x="313" y="678"/>
                    <a:pt x="69" y="453"/>
                    <a:pt x="139" y="356"/>
                  </a:cubicBezTo>
                  <a:cubicBezTo>
                    <a:pt x="207" y="262"/>
                    <a:pt x="495" y="424"/>
                    <a:pt x="609" y="373"/>
                  </a:cubicBezTo>
                  <a:cubicBezTo>
                    <a:pt x="723" y="323"/>
                    <a:pt x="795" y="0"/>
                    <a:pt x="910" y="13"/>
                  </a:cubicBezTo>
                  <a:cubicBezTo>
                    <a:pt x="1030" y="25"/>
                    <a:pt x="1033" y="358"/>
                    <a:pt x="1130" y="428"/>
                  </a:cubicBezTo>
                  <a:cubicBezTo>
                    <a:pt x="1224" y="496"/>
                    <a:pt x="1542" y="395"/>
                    <a:pt x="1593" y="509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2C670B2A-5BD8-43FF-B319-43186282C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19488" y="727075"/>
              <a:ext cx="5156200" cy="5403850"/>
            </a:xfrm>
            <a:custGeom>
              <a:avLst/>
              <a:gdLst>
                <a:gd name="T0" fmla="*/ 1561 w 1618"/>
                <a:gd name="T1" fmla="*/ 466 h 1698"/>
                <a:gd name="T2" fmla="*/ 1332 w 1618"/>
                <a:gd name="T3" fmla="*/ 876 h 1698"/>
                <a:gd name="T4" fmla="*/ 1517 w 1618"/>
                <a:gd name="T5" fmla="*/ 1309 h 1698"/>
                <a:gd name="T6" fmla="*/ 1047 w 1618"/>
                <a:gd name="T7" fmla="*/ 1316 h 1698"/>
                <a:gd name="T8" fmla="*/ 765 w 1618"/>
                <a:gd name="T9" fmla="*/ 1692 h 1698"/>
                <a:gd name="T10" fmla="*/ 523 w 1618"/>
                <a:gd name="T11" fmla="*/ 1288 h 1698"/>
                <a:gd name="T12" fmla="*/ 57 w 1618"/>
                <a:gd name="T13" fmla="*/ 1232 h 1698"/>
                <a:gd name="T14" fmla="*/ 286 w 1618"/>
                <a:gd name="T15" fmla="*/ 822 h 1698"/>
                <a:gd name="T16" fmla="*/ 101 w 1618"/>
                <a:gd name="T17" fmla="*/ 389 h 1698"/>
                <a:gd name="T18" fmla="*/ 571 w 1618"/>
                <a:gd name="T19" fmla="*/ 382 h 1698"/>
                <a:gd name="T20" fmla="*/ 853 w 1618"/>
                <a:gd name="T21" fmla="*/ 6 h 1698"/>
                <a:gd name="T22" fmla="*/ 1095 w 1618"/>
                <a:gd name="T23" fmla="*/ 410 h 1698"/>
                <a:gd name="T24" fmla="*/ 1561 w 1618"/>
                <a:gd name="T25" fmla="*/ 466 h 1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18" h="1698">
                  <a:moveTo>
                    <a:pt x="1561" y="466"/>
                  </a:moveTo>
                  <a:cubicBezTo>
                    <a:pt x="1618" y="577"/>
                    <a:pt x="1339" y="760"/>
                    <a:pt x="1332" y="876"/>
                  </a:cubicBezTo>
                  <a:cubicBezTo>
                    <a:pt x="1326" y="996"/>
                    <a:pt x="1582" y="1208"/>
                    <a:pt x="1517" y="1309"/>
                  </a:cubicBezTo>
                  <a:cubicBezTo>
                    <a:pt x="1454" y="1406"/>
                    <a:pt x="1158" y="1259"/>
                    <a:pt x="1047" y="1316"/>
                  </a:cubicBezTo>
                  <a:cubicBezTo>
                    <a:pt x="936" y="1372"/>
                    <a:pt x="881" y="1698"/>
                    <a:pt x="765" y="1692"/>
                  </a:cubicBezTo>
                  <a:cubicBezTo>
                    <a:pt x="645" y="1686"/>
                    <a:pt x="624" y="1354"/>
                    <a:pt x="523" y="1288"/>
                  </a:cubicBezTo>
                  <a:cubicBezTo>
                    <a:pt x="426" y="1225"/>
                    <a:pt x="114" y="1343"/>
                    <a:pt x="57" y="1232"/>
                  </a:cubicBezTo>
                  <a:cubicBezTo>
                    <a:pt x="0" y="1121"/>
                    <a:pt x="279" y="938"/>
                    <a:pt x="286" y="822"/>
                  </a:cubicBezTo>
                  <a:cubicBezTo>
                    <a:pt x="292" y="702"/>
                    <a:pt x="36" y="490"/>
                    <a:pt x="101" y="389"/>
                  </a:cubicBezTo>
                  <a:cubicBezTo>
                    <a:pt x="164" y="292"/>
                    <a:pt x="460" y="439"/>
                    <a:pt x="571" y="382"/>
                  </a:cubicBezTo>
                  <a:cubicBezTo>
                    <a:pt x="682" y="326"/>
                    <a:pt x="737" y="0"/>
                    <a:pt x="853" y="6"/>
                  </a:cubicBezTo>
                  <a:cubicBezTo>
                    <a:pt x="973" y="12"/>
                    <a:pt x="994" y="344"/>
                    <a:pt x="1095" y="410"/>
                  </a:cubicBezTo>
                  <a:cubicBezTo>
                    <a:pt x="1192" y="473"/>
                    <a:pt x="1504" y="355"/>
                    <a:pt x="1561" y="466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8918CAD1-3F9C-494A-8FF3-81F05D49BD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70288" y="742950"/>
              <a:ext cx="5054600" cy="5372100"/>
            </a:xfrm>
            <a:custGeom>
              <a:avLst/>
              <a:gdLst>
                <a:gd name="T0" fmla="*/ 1524 w 1586"/>
                <a:gd name="T1" fmla="*/ 422 h 1688"/>
                <a:gd name="T2" fmla="*/ 1317 w 1586"/>
                <a:gd name="T3" fmla="*/ 844 h 1688"/>
                <a:gd name="T4" fmla="*/ 1524 w 1586"/>
                <a:gd name="T5" fmla="*/ 1266 h 1688"/>
                <a:gd name="T6" fmla="*/ 1055 w 1586"/>
                <a:gd name="T7" fmla="*/ 1298 h 1688"/>
                <a:gd name="T8" fmla="*/ 793 w 1586"/>
                <a:gd name="T9" fmla="*/ 1688 h 1688"/>
                <a:gd name="T10" fmla="*/ 531 w 1586"/>
                <a:gd name="T11" fmla="*/ 1298 h 1688"/>
                <a:gd name="T12" fmla="*/ 62 w 1586"/>
                <a:gd name="T13" fmla="*/ 1266 h 1688"/>
                <a:gd name="T14" fmla="*/ 269 w 1586"/>
                <a:gd name="T15" fmla="*/ 844 h 1688"/>
                <a:gd name="T16" fmla="*/ 62 w 1586"/>
                <a:gd name="T17" fmla="*/ 422 h 1688"/>
                <a:gd name="T18" fmla="*/ 531 w 1586"/>
                <a:gd name="T19" fmla="*/ 390 h 1688"/>
                <a:gd name="T20" fmla="*/ 793 w 1586"/>
                <a:gd name="T21" fmla="*/ 0 h 1688"/>
                <a:gd name="T22" fmla="*/ 1055 w 1586"/>
                <a:gd name="T23" fmla="*/ 390 h 1688"/>
                <a:gd name="T24" fmla="*/ 1524 w 1586"/>
                <a:gd name="T25" fmla="*/ 422 h 1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86" h="1688">
                  <a:moveTo>
                    <a:pt x="1524" y="422"/>
                  </a:moveTo>
                  <a:cubicBezTo>
                    <a:pt x="1586" y="530"/>
                    <a:pt x="1317" y="728"/>
                    <a:pt x="1317" y="844"/>
                  </a:cubicBezTo>
                  <a:cubicBezTo>
                    <a:pt x="1317" y="964"/>
                    <a:pt x="1584" y="1162"/>
                    <a:pt x="1524" y="1266"/>
                  </a:cubicBezTo>
                  <a:cubicBezTo>
                    <a:pt x="1466" y="1367"/>
                    <a:pt x="1163" y="1235"/>
                    <a:pt x="1055" y="1298"/>
                  </a:cubicBezTo>
                  <a:cubicBezTo>
                    <a:pt x="947" y="1360"/>
                    <a:pt x="909" y="1688"/>
                    <a:pt x="793" y="1688"/>
                  </a:cubicBezTo>
                  <a:cubicBezTo>
                    <a:pt x="673" y="1688"/>
                    <a:pt x="635" y="1358"/>
                    <a:pt x="531" y="1298"/>
                  </a:cubicBezTo>
                  <a:cubicBezTo>
                    <a:pt x="430" y="1240"/>
                    <a:pt x="124" y="1374"/>
                    <a:pt x="62" y="1266"/>
                  </a:cubicBezTo>
                  <a:cubicBezTo>
                    <a:pt x="0" y="1158"/>
                    <a:pt x="269" y="960"/>
                    <a:pt x="269" y="844"/>
                  </a:cubicBezTo>
                  <a:cubicBezTo>
                    <a:pt x="269" y="724"/>
                    <a:pt x="2" y="526"/>
                    <a:pt x="62" y="422"/>
                  </a:cubicBezTo>
                  <a:cubicBezTo>
                    <a:pt x="120" y="321"/>
                    <a:pt x="423" y="453"/>
                    <a:pt x="531" y="390"/>
                  </a:cubicBezTo>
                  <a:cubicBezTo>
                    <a:pt x="639" y="328"/>
                    <a:pt x="677" y="0"/>
                    <a:pt x="793" y="0"/>
                  </a:cubicBezTo>
                  <a:cubicBezTo>
                    <a:pt x="913" y="0"/>
                    <a:pt x="951" y="330"/>
                    <a:pt x="1055" y="390"/>
                  </a:cubicBezTo>
                  <a:cubicBezTo>
                    <a:pt x="1156" y="448"/>
                    <a:pt x="1462" y="314"/>
                    <a:pt x="1524" y="422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id="{73C277BB-DFC3-4CD9-9DD4-1CE98D64F7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5838" y="727075"/>
              <a:ext cx="5143500" cy="5403850"/>
            </a:xfrm>
            <a:custGeom>
              <a:avLst/>
              <a:gdLst>
                <a:gd name="T0" fmla="*/ 1515 w 1614"/>
                <a:gd name="T1" fmla="*/ 389 h 1698"/>
                <a:gd name="T2" fmla="*/ 1330 w 1614"/>
                <a:gd name="T3" fmla="*/ 821 h 1698"/>
                <a:gd name="T4" fmla="*/ 1559 w 1614"/>
                <a:gd name="T5" fmla="*/ 1232 h 1698"/>
                <a:gd name="T6" fmla="*/ 1092 w 1614"/>
                <a:gd name="T7" fmla="*/ 1288 h 1698"/>
                <a:gd name="T8" fmla="*/ 851 w 1614"/>
                <a:gd name="T9" fmla="*/ 1692 h 1698"/>
                <a:gd name="T10" fmla="*/ 569 w 1614"/>
                <a:gd name="T11" fmla="*/ 1316 h 1698"/>
                <a:gd name="T12" fmla="*/ 99 w 1614"/>
                <a:gd name="T13" fmla="*/ 1309 h 1698"/>
                <a:gd name="T14" fmla="*/ 284 w 1614"/>
                <a:gd name="T15" fmla="*/ 877 h 1698"/>
                <a:gd name="T16" fmla="*/ 55 w 1614"/>
                <a:gd name="T17" fmla="*/ 466 h 1698"/>
                <a:gd name="T18" fmla="*/ 522 w 1614"/>
                <a:gd name="T19" fmla="*/ 410 h 1698"/>
                <a:gd name="T20" fmla="*/ 763 w 1614"/>
                <a:gd name="T21" fmla="*/ 6 h 1698"/>
                <a:gd name="T22" fmla="*/ 1045 w 1614"/>
                <a:gd name="T23" fmla="*/ 382 h 1698"/>
                <a:gd name="T24" fmla="*/ 1515 w 1614"/>
                <a:gd name="T25" fmla="*/ 389 h 1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14" h="1698">
                  <a:moveTo>
                    <a:pt x="1515" y="389"/>
                  </a:moveTo>
                  <a:cubicBezTo>
                    <a:pt x="1583" y="494"/>
                    <a:pt x="1324" y="705"/>
                    <a:pt x="1330" y="821"/>
                  </a:cubicBezTo>
                  <a:cubicBezTo>
                    <a:pt x="1337" y="941"/>
                    <a:pt x="1614" y="1125"/>
                    <a:pt x="1559" y="1232"/>
                  </a:cubicBezTo>
                  <a:cubicBezTo>
                    <a:pt x="1506" y="1336"/>
                    <a:pt x="1197" y="1221"/>
                    <a:pt x="1092" y="1288"/>
                  </a:cubicBezTo>
                  <a:cubicBezTo>
                    <a:pt x="988" y="1356"/>
                    <a:pt x="967" y="1686"/>
                    <a:pt x="851" y="1692"/>
                  </a:cubicBezTo>
                  <a:cubicBezTo>
                    <a:pt x="731" y="1698"/>
                    <a:pt x="676" y="1370"/>
                    <a:pt x="569" y="1316"/>
                  </a:cubicBezTo>
                  <a:cubicBezTo>
                    <a:pt x="465" y="1263"/>
                    <a:pt x="167" y="1413"/>
                    <a:pt x="99" y="1309"/>
                  </a:cubicBezTo>
                  <a:cubicBezTo>
                    <a:pt x="31" y="1204"/>
                    <a:pt x="290" y="993"/>
                    <a:pt x="284" y="877"/>
                  </a:cubicBezTo>
                  <a:cubicBezTo>
                    <a:pt x="277" y="757"/>
                    <a:pt x="0" y="573"/>
                    <a:pt x="55" y="466"/>
                  </a:cubicBezTo>
                  <a:cubicBezTo>
                    <a:pt x="108" y="362"/>
                    <a:pt x="417" y="477"/>
                    <a:pt x="522" y="410"/>
                  </a:cubicBezTo>
                  <a:cubicBezTo>
                    <a:pt x="626" y="342"/>
                    <a:pt x="647" y="12"/>
                    <a:pt x="763" y="6"/>
                  </a:cubicBezTo>
                  <a:cubicBezTo>
                    <a:pt x="883" y="0"/>
                    <a:pt x="938" y="328"/>
                    <a:pt x="1045" y="382"/>
                  </a:cubicBezTo>
                  <a:cubicBezTo>
                    <a:pt x="1149" y="435"/>
                    <a:pt x="1447" y="285"/>
                    <a:pt x="1515" y="389"/>
                  </a:cubicBezTo>
                  <a:close/>
                </a:path>
              </a:pathLst>
            </a:custGeom>
            <a:noFill/>
            <a:ln w="31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6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6/10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8D97678A-7A44-45E9-B637-D4B9DBFEA42C}"/>
              </a:ext>
            </a:extLst>
          </p:cNvPr>
          <p:cNvCxnSpPr>
            <a:cxnSpLocks/>
          </p:cNvCxnSpPr>
          <p:nvPr userDrawn="1"/>
        </p:nvCxnSpPr>
        <p:spPr>
          <a:xfrm flipH="1">
            <a:off x="673100" y="3755688"/>
            <a:ext cx="10847388" cy="0"/>
          </a:xfrm>
          <a:prstGeom prst="line">
            <a:avLst/>
          </a:prstGeom>
          <a:ln w="1270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B4912D2E-03CB-426F-B6F0-CE0EA665D1C2}"/>
              </a:ext>
            </a:extLst>
          </p:cNvPr>
          <p:cNvSpPr>
            <a:spLocks/>
          </p:cNvSpPr>
          <p:nvPr userDrawn="1"/>
        </p:nvSpPr>
        <p:spPr>
          <a:xfrm flipH="1">
            <a:off x="669925" y="738666"/>
            <a:ext cx="1153014" cy="39163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r>
              <a:rPr lang="en-US" altLang="zh-CN" sz="1600" dirty="0">
                <a:solidFill>
                  <a:schemeClr val="bg1">
                    <a:lumMod val="65000"/>
                  </a:schemeClr>
                </a:solidFill>
                <a:latin typeface="Impact" panose="020B0806030902050204" pitchFamily="34" charset="0"/>
              </a:rPr>
              <a:t>LOGO</a:t>
            </a:r>
            <a:endParaRPr lang="zh-CN" altLang="en-US" sz="16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424A871B-3AA2-496F-B3EB-C3DB0FCCB4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57450" y="-12299"/>
            <a:ext cx="97345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6/10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>
            <a:extLst>
              <a:ext uri="{FF2B5EF4-FFF2-40B4-BE49-F238E27FC236}">
                <a16:creationId xmlns:a16="http://schemas.microsoft.com/office/drawing/2014/main" id="{73D68429-C8C6-48A0-93AB-0FD63EB57BB8}"/>
              </a:ext>
            </a:extLst>
          </p:cNvPr>
          <p:cNvSpPr/>
          <p:nvPr/>
        </p:nvSpPr>
        <p:spPr>
          <a:xfrm>
            <a:off x="6095999" y="3321494"/>
            <a:ext cx="5307725" cy="6249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62C38E4D-BDFB-4FAD-83F7-4D1F8CC1456F}"/>
              </a:ext>
            </a:extLst>
          </p:cNvPr>
          <p:cNvSpPr/>
          <p:nvPr/>
        </p:nvSpPr>
        <p:spPr>
          <a:xfrm>
            <a:off x="6096000" y="1731484"/>
            <a:ext cx="2232801" cy="6249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9719332" y="4006458"/>
            <a:ext cx="1684392" cy="558799"/>
          </a:xfrm>
        </p:spPr>
        <p:txBody>
          <a:bodyPr>
            <a:normAutofit/>
          </a:bodyPr>
          <a:lstStyle/>
          <a:p>
            <a:r>
              <a:rPr lang="zh-CN" altLang="en-US" b="1" i="1" dirty="0"/>
              <a:t>课程报告</a:t>
            </a:r>
            <a:endParaRPr lang="en-US" altLang="zh-CN" b="1" i="1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557924" y="5486881"/>
            <a:ext cx="10845800" cy="296271"/>
          </a:xfrm>
        </p:spPr>
        <p:txBody>
          <a:bodyPr/>
          <a:lstStyle/>
          <a:p>
            <a:pPr algn="r"/>
            <a:r>
              <a:rPr lang="zh-CN" altLang="en-US" b="1" i="1" dirty="0"/>
              <a:t>丁豪 淦海翔 王宸旭</a:t>
            </a:r>
            <a:endParaRPr lang="en-US" altLang="zh-CN" b="1" i="1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557924" y="5783152"/>
            <a:ext cx="10845800" cy="296271"/>
          </a:xfrm>
        </p:spPr>
        <p:txBody>
          <a:bodyPr/>
          <a:lstStyle/>
          <a:p>
            <a:pPr algn="r"/>
            <a:r>
              <a:rPr lang="zh-CN" altLang="en-US" b="1" i="1" dirty="0"/>
              <a:t>上学威龙</a:t>
            </a:r>
            <a:endParaRPr lang="en-US" altLang="en-US" b="1" i="1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BD765743-D004-41C3-AE1C-CAC623E973A3}"/>
              </a:ext>
            </a:extLst>
          </p:cNvPr>
          <p:cNvSpPr txBox="1"/>
          <p:nvPr/>
        </p:nvSpPr>
        <p:spPr>
          <a:xfrm>
            <a:off x="10121900" y="659368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altLang="zh-CN" b="1" spc="-150" dirty="0"/>
          </a:p>
          <a:p>
            <a:endParaRPr lang="zh-CN" altLang="en-US" spc="-150" dirty="0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C2AC5FAD-1033-405A-9E50-E7505300E65C}"/>
              </a:ext>
            </a:extLst>
          </p:cNvPr>
          <p:cNvSpPr/>
          <p:nvPr/>
        </p:nvSpPr>
        <p:spPr>
          <a:xfrm>
            <a:off x="6096000" y="2513644"/>
            <a:ext cx="3439886" cy="6249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096000" y="1781074"/>
            <a:ext cx="5422436" cy="1966060"/>
          </a:xfrm>
          <a:ln>
            <a:noFill/>
          </a:ln>
        </p:spPr>
        <p:txBody>
          <a:bodyPr>
            <a:normAutofit fontScale="90000"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bg1"/>
                </a:solidFill>
              </a:rPr>
              <a:t>塞壬</a:t>
            </a:r>
            <a:br>
              <a:rPr lang="zh-CN" altLang="en-US" dirty="0">
                <a:solidFill>
                  <a:schemeClr val="bg1"/>
                </a:solidFill>
              </a:rPr>
            </a:br>
            <a:r>
              <a:rPr lang="zh-CN" altLang="en-US" dirty="0"/>
              <a:t>音乐分类</a:t>
            </a:r>
            <a:r>
              <a:rPr lang="en-US" altLang="zh-CN" dirty="0"/>
              <a:t> </a:t>
            </a:r>
            <a:br>
              <a:rPr lang="en-US" altLang="zh-CN" dirty="0">
                <a:solidFill>
                  <a:schemeClr val="bg1"/>
                </a:solidFill>
              </a:rPr>
            </a:br>
            <a:r>
              <a:rPr lang="en-US" altLang="zh-CN" dirty="0">
                <a:solidFill>
                  <a:schemeClr val="bg1"/>
                </a:solidFill>
              </a:rPr>
              <a:t>Music Classification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08F6FBF-5AC4-4AFF-A40B-B9A2DF13DF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DAAFAD1-1812-4BFA-95D8-92C30D6D43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A356112D-92FE-4ADD-AD5E-FA63572988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546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8390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FC1655E-BBF5-41E2-8F69-4D8199E2F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B7C9D98-08CC-4320-8AA3-0E3D059219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962001F4-93F2-401E-B09F-58883E0062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54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7661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7EBC650-EDA8-404E-88DE-153D07E99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2528352-4195-4205-8E19-795C8AC558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A6FCE93-DAA3-4A1E-A80F-81C751456B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573"/>
            <a:ext cx="12192000" cy="5498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315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1C881EBC-FF99-42D6-AD11-2A8CF247133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88" t="-11042" r="1088" b="11042"/>
          <a:stretch/>
        </p:blipFill>
        <p:spPr>
          <a:xfrm rot="5400000">
            <a:off x="4877261" y="-6735"/>
            <a:ext cx="9334500" cy="6524625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0064042C-FA2F-4BC0-A854-297D9411449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9199" r="19480"/>
          <a:stretch/>
        </p:blipFill>
        <p:spPr>
          <a:xfrm>
            <a:off x="-1157167" y="0"/>
            <a:ext cx="706697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9682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824EEBA-7FD4-448F-8CF9-9F8475B722ED}"/>
              </a:ext>
            </a:extLst>
          </p:cNvPr>
          <p:cNvSpPr txBox="1"/>
          <p:nvPr/>
        </p:nvSpPr>
        <p:spPr>
          <a:xfrm>
            <a:off x="2734235" y="1882588"/>
            <a:ext cx="5280212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钢琴</a:t>
            </a:r>
            <a:r>
              <a:rPr lang="en-US" altLang="zh-CN" sz="2400" dirty="0"/>
              <a:t> </a:t>
            </a:r>
            <a:r>
              <a:rPr lang="zh-CN" altLang="zh-CN" sz="2400" dirty="0"/>
              <a:t>识别率</a:t>
            </a:r>
            <a:r>
              <a:rPr lang="en-US" altLang="zh-CN" sz="2400" dirty="0"/>
              <a:t>: 0.8928344958782498</a:t>
            </a:r>
            <a:br>
              <a:rPr lang="en-US" altLang="zh-CN" sz="2400" dirty="0"/>
            </a:br>
            <a:r>
              <a:rPr lang="zh-CN" altLang="zh-CN" sz="2400" dirty="0"/>
              <a:t>吉他</a:t>
            </a:r>
            <a:r>
              <a:rPr lang="en-US" altLang="zh-CN" sz="2400" dirty="0"/>
              <a:t> </a:t>
            </a:r>
            <a:r>
              <a:rPr lang="zh-CN" altLang="zh-CN" sz="2400" dirty="0"/>
              <a:t>识别率</a:t>
            </a:r>
            <a:r>
              <a:rPr lang="en-US" altLang="zh-CN" sz="2400" dirty="0"/>
              <a:t>: 0.9319546364242829</a:t>
            </a:r>
            <a:br>
              <a:rPr lang="en-US" altLang="zh-CN" sz="2400" dirty="0"/>
            </a:br>
            <a:r>
              <a:rPr lang="zh-CN" altLang="zh-CN" sz="2400" dirty="0"/>
              <a:t>小提琴</a:t>
            </a:r>
            <a:r>
              <a:rPr lang="en-US" altLang="zh-CN" sz="2400" dirty="0"/>
              <a:t> </a:t>
            </a:r>
            <a:r>
              <a:rPr lang="zh-CN" altLang="zh-CN" sz="2400" dirty="0"/>
              <a:t>识别率</a:t>
            </a:r>
            <a:r>
              <a:rPr lang="en-US" altLang="zh-CN" sz="2400" dirty="0"/>
              <a:t>: 0.7853107344632768</a:t>
            </a:r>
            <a:br>
              <a:rPr lang="en-US" altLang="zh-CN" sz="2400" dirty="0"/>
            </a:br>
            <a:r>
              <a:rPr lang="zh-CN" altLang="zh-CN" sz="2400" dirty="0"/>
              <a:t>电音</a:t>
            </a:r>
            <a:r>
              <a:rPr lang="en-US" altLang="zh-CN" sz="2400" dirty="0"/>
              <a:t> </a:t>
            </a:r>
            <a:r>
              <a:rPr lang="zh-CN" altLang="zh-CN" sz="2400" dirty="0"/>
              <a:t>识别率</a:t>
            </a:r>
            <a:r>
              <a:rPr lang="en-US" altLang="zh-CN" sz="2400" dirty="0"/>
              <a:t>: 0.7658979734451432</a:t>
            </a:r>
            <a:br>
              <a:rPr lang="en-US" altLang="zh-CN" sz="2400" dirty="0"/>
            </a:br>
            <a:r>
              <a:rPr lang="zh-CN" altLang="zh-CN" sz="2400" dirty="0"/>
              <a:t>萨克斯</a:t>
            </a:r>
            <a:r>
              <a:rPr lang="en-US" altLang="zh-CN" sz="2400" dirty="0"/>
              <a:t> </a:t>
            </a:r>
            <a:r>
              <a:rPr lang="zh-CN" altLang="zh-CN" sz="2400" dirty="0"/>
              <a:t>识别率</a:t>
            </a:r>
            <a:r>
              <a:rPr lang="en-US" altLang="zh-CN" sz="2400" dirty="0"/>
              <a:t>: 0.7342192691029901</a:t>
            </a:r>
            <a:br>
              <a:rPr lang="en-US" altLang="zh-CN" sz="2400" dirty="0"/>
            </a:br>
            <a:r>
              <a:rPr lang="en-US" altLang="zh-CN" sz="2400" dirty="0"/>
              <a:t>vocal </a:t>
            </a:r>
            <a:r>
              <a:rPr lang="zh-CN" altLang="zh-CN" sz="2400" dirty="0"/>
              <a:t>识别率</a:t>
            </a:r>
            <a:r>
              <a:rPr lang="en-US" altLang="zh-CN" sz="2400" dirty="0"/>
              <a:t>: 0.7056105610561056</a:t>
            </a:r>
            <a:br>
              <a:rPr lang="en-US" altLang="zh-CN" sz="2400" dirty="0"/>
            </a:br>
            <a:r>
              <a:rPr lang="en-US" altLang="zh-CN" sz="2400" dirty="0"/>
              <a:t>rap </a:t>
            </a:r>
            <a:r>
              <a:rPr lang="zh-CN" altLang="zh-CN" sz="2400" dirty="0"/>
              <a:t>识别率</a:t>
            </a:r>
            <a:r>
              <a:rPr lang="en-US" altLang="zh-CN" sz="2400" dirty="0"/>
              <a:t>: 0.8496868475991649</a:t>
            </a:r>
            <a:br>
              <a:rPr lang="en-US" altLang="zh-CN" sz="2400" dirty="0"/>
            </a:br>
            <a:r>
              <a:rPr lang="zh-CN" altLang="zh-CN" sz="2400" dirty="0"/>
              <a:t>长笛</a:t>
            </a:r>
            <a:r>
              <a:rPr lang="en-US" altLang="zh-CN" sz="2400" dirty="0"/>
              <a:t> </a:t>
            </a:r>
            <a:r>
              <a:rPr lang="zh-CN" altLang="zh-CN" sz="2400" dirty="0"/>
              <a:t>识别率</a:t>
            </a:r>
            <a:r>
              <a:rPr lang="en-US" altLang="zh-CN" sz="2400" dirty="0"/>
              <a:t>: 0.7707792207792208 </a:t>
            </a:r>
            <a:endParaRPr lang="zh-CN" altLang="zh-CN" sz="2400" dirty="0"/>
          </a:p>
          <a:p>
            <a:endParaRPr lang="zh-CN" altLang="en-US" dirty="0"/>
          </a:p>
        </p:txBody>
      </p:sp>
      <p:sp>
        <p:nvSpPr>
          <p:cNvPr id="8" name="标题 1">
            <a:extLst>
              <a:ext uri="{FF2B5EF4-FFF2-40B4-BE49-F238E27FC236}">
                <a16:creationId xmlns:a16="http://schemas.microsoft.com/office/drawing/2014/main" id="{C5696A0B-1F9F-4528-B88F-090E406E46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zh-CN" altLang="en-US" dirty="0"/>
              <a:t>识别率</a:t>
            </a:r>
          </a:p>
        </p:txBody>
      </p:sp>
    </p:spTree>
    <p:extLst>
      <p:ext uri="{BB962C8B-B14F-4D97-AF65-F5344CB8AC3E}">
        <p14:creationId xmlns:p14="http://schemas.microsoft.com/office/powerpoint/2010/main" val="7221194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573366" y="2470792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000" dirty="0"/>
              <a:t>总结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573366" y="3366142"/>
            <a:ext cx="5419185" cy="1015623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zh-CN" altLang="en-US" sz="1400" dirty="0"/>
              <a:t>音乐特征值</a:t>
            </a:r>
            <a:endParaRPr lang="en-US" altLang="zh-CN" sz="1400" dirty="0"/>
          </a:p>
          <a:p>
            <a:pPr lvl="0">
              <a:lnSpc>
                <a:spcPct val="100000"/>
              </a:lnSpc>
            </a:pPr>
            <a:r>
              <a:rPr lang="zh-CN" altLang="en-US" sz="1400" dirty="0"/>
              <a:t>数据处理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645466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88811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669925" y="2093952"/>
            <a:ext cx="10845798" cy="1621509"/>
          </a:xfrm>
        </p:spPr>
        <p:txBody>
          <a:bodyPr>
            <a:normAutofit/>
          </a:bodyPr>
          <a:lstStyle/>
          <a:p>
            <a:r>
              <a:rPr lang="en-US" altLang="zh-CN" sz="4800" i="1" dirty="0">
                <a:solidFill>
                  <a:schemeClr val="accent1"/>
                </a:solidFill>
              </a:rPr>
              <a:t>Thanks</a:t>
            </a:r>
            <a:br>
              <a:rPr lang="en-US" altLang="zh-CN" sz="4800" dirty="0"/>
            </a:br>
            <a:r>
              <a:rPr lang="en-US" altLang="zh-CN" sz="4800" dirty="0"/>
              <a:t>Q&amp;A</a:t>
            </a:r>
            <a:endParaRPr lang="zh-CN" altLang="en-US" sz="48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69925" y="3953293"/>
            <a:ext cx="10845798" cy="296271"/>
          </a:xfrm>
        </p:spPr>
        <p:txBody>
          <a:bodyPr/>
          <a:lstStyle/>
          <a:p>
            <a:r>
              <a:rPr lang="zh-CN" altLang="en-US" b="1" i="1" dirty="0"/>
              <a:t>丁豪 淦海翔 王宸旭</a:t>
            </a:r>
            <a:endParaRPr lang="en-US" altLang="zh-CN" b="1" i="1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321" y="1780800"/>
            <a:ext cx="10763167" cy="4003616"/>
            <a:chOff x="757321" y="1780800"/>
            <a:chExt cx="10763167" cy="4003616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321" y="1780800"/>
              <a:ext cx="10763167" cy="4003616"/>
              <a:chOff x="1175780" y="1780800"/>
              <a:chExt cx="10344707" cy="4003616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问题背景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设计思路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实践</a:t>
                </a: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&amp;</a:t>
                </a: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问题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总结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80" y="1780800"/>
                <a:ext cx="2521108" cy="7078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40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报告内容</a:t>
                </a:r>
                <a:endParaRPr lang="tr-TR" sz="40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573366" y="2470792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000" dirty="0"/>
              <a:t>问题背景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573366" y="3366142"/>
            <a:ext cx="5419185" cy="1015623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zh-CN" altLang="en-US" sz="1400" dirty="0"/>
              <a:t>听歌识曲</a:t>
            </a:r>
            <a:endParaRPr lang="en-US" altLang="zh-CN" sz="1400" dirty="0"/>
          </a:p>
          <a:p>
            <a:pPr lvl="0">
              <a:lnSpc>
                <a:spcPct val="100000"/>
              </a:lnSpc>
            </a:pPr>
            <a:r>
              <a:rPr lang="zh-CN" altLang="en-US" sz="1400" dirty="0"/>
              <a:t>本地化音乐分类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645466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问题分析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B2A420B7-E435-40AE-AE60-15E757A5BC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1314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573366" y="2470792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000" dirty="0"/>
              <a:t>设计思路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573366" y="3366142"/>
            <a:ext cx="5419185" cy="1015623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zh-CN" altLang="en-US" sz="1400" dirty="0"/>
              <a:t>音乐特征</a:t>
            </a:r>
            <a:endParaRPr lang="en-US" altLang="zh-CN" sz="1400" dirty="0"/>
          </a:p>
          <a:p>
            <a:pPr lvl="0">
              <a:lnSpc>
                <a:spcPct val="100000"/>
              </a:lnSpc>
            </a:pPr>
            <a:r>
              <a:rPr lang="zh-CN" altLang="en-US" sz="1400" dirty="0"/>
              <a:t>分类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645466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26946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78860FF8-61B8-461F-81E7-FE03D105B089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784811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24363386-9ED1-4A12-BB73-C6FA1F82EF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06140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6985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设计思路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6" name="标题 4">
            <a:extLst>
              <a:ext uri="{FF2B5EF4-FFF2-40B4-BE49-F238E27FC236}">
                <a16:creationId xmlns:a16="http://schemas.microsoft.com/office/drawing/2014/main" id="{BF0B2EF7-789C-4139-A562-AD2D5B5B7C61}"/>
              </a:ext>
            </a:extLst>
          </p:cNvPr>
          <p:cNvSpPr txBox="1">
            <a:spLocks/>
          </p:cNvSpPr>
          <p:nvPr/>
        </p:nvSpPr>
        <p:spPr>
          <a:xfrm>
            <a:off x="2847600" y="1550894"/>
            <a:ext cx="5419185" cy="5056094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4000" dirty="0"/>
              <a:t>数据处理</a:t>
            </a:r>
            <a:br>
              <a:rPr lang="en-US" altLang="zh-CN" sz="4000" dirty="0"/>
            </a:br>
            <a:br>
              <a:rPr lang="en-US" altLang="zh-CN" sz="4000" dirty="0"/>
            </a:br>
            <a:r>
              <a:rPr lang="zh-CN" altLang="en-US" sz="4000" dirty="0"/>
              <a:t>分类算法</a:t>
            </a:r>
            <a:br>
              <a:rPr lang="en-US" altLang="zh-CN" sz="4000" dirty="0"/>
            </a:br>
            <a:br>
              <a:rPr lang="en-US" altLang="zh-CN" sz="4000" dirty="0"/>
            </a:br>
            <a:r>
              <a:rPr lang="zh-CN" altLang="en-US" sz="4000" dirty="0"/>
              <a:t>文件移动</a:t>
            </a:r>
          </a:p>
        </p:txBody>
      </p:sp>
    </p:spTree>
    <p:extLst>
      <p:ext uri="{BB962C8B-B14F-4D97-AF65-F5344CB8AC3E}">
        <p14:creationId xmlns:p14="http://schemas.microsoft.com/office/powerpoint/2010/main" val="5109771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573366" y="2470792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000" dirty="0"/>
              <a:t>实践</a:t>
            </a:r>
            <a:r>
              <a:rPr lang="en-US" altLang="zh-CN" sz="4000" dirty="0"/>
              <a:t>&amp;</a:t>
            </a:r>
            <a:r>
              <a:rPr lang="zh-CN" altLang="en-US" sz="4000" dirty="0"/>
              <a:t>过程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573366" y="3366142"/>
            <a:ext cx="5419185" cy="1015623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zh-CN" altLang="en-US" sz="1400" dirty="0"/>
              <a:t>可视化</a:t>
            </a:r>
            <a:endParaRPr lang="en-US" altLang="zh-CN" sz="1400" dirty="0"/>
          </a:p>
          <a:p>
            <a:pPr lvl="0">
              <a:lnSpc>
                <a:spcPct val="100000"/>
              </a:lnSpc>
            </a:pPr>
            <a:r>
              <a:rPr lang="zh-CN" altLang="en-US" sz="1400" dirty="0"/>
              <a:t>成果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645466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08888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d9074b4e-ced9-4843-9745-1ebab0eb865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FB50B"/>
      </a:accent1>
      <a:accent2>
        <a:srgbClr val="000000"/>
      </a:accent2>
      <a:accent3>
        <a:srgbClr val="EA9600"/>
      </a:accent3>
      <a:accent4>
        <a:srgbClr val="906500"/>
      </a:accent4>
      <a:accent5>
        <a:srgbClr val="7F7F7F"/>
      </a:accent5>
      <a:accent6>
        <a:srgbClr val="595959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50B"/>
    </a:accent1>
    <a:accent2>
      <a:srgbClr val="000000"/>
    </a:accent2>
    <a:accent3>
      <a:srgbClr val="EA9600"/>
    </a:accent3>
    <a:accent4>
      <a:srgbClr val="906500"/>
    </a:accent4>
    <a:accent5>
      <a:srgbClr val="7F7F7F"/>
    </a:accent5>
    <a:accent6>
      <a:srgbClr val="595959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50B"/>
    </a:accent1>
    <a:accent2>
      <a:srgbClr val="000000"/>
    </a:accent2>
    <a:accent3>
      <a:srgbClr val="EA9600"/>
    </a:accent3>
    <a:accent4>
      <a:srgbClr val="906500"/>
    </a:accent4>
    <a:accent5>
      <a:srgbClr val="7F7F7F"/>
    </a:accent5>
    <a:accent6>
      <a:srgbClr val="595959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50B"/>
    </a:accent1>
    <a:accent2>
      <a:srgbClr val="000000"/>
    </a:accent2>
    <a:accent3>
      <a:srgbClr val="EA9600"/>
    </a:accent3>
    <a:accent4>
      <a:srgbClr val="906500"/>
    </a:accent4>
    <a:accent5>
      <a:srgbClr val="7F7F7F"/>
    </a:accent5>
    <a:accent6>
      <a:srgbClr val="595959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50</TotalTime>
  <Words>76</Words>
  <Application>Microsoft Office PowerPoint</Application>
  <PresentationFormat>宽屏</PresentationFormat>
  <Paragraphs>36</Paragraphs>
  <Slides>1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21" baseType="lpstr">
      <vt:lpstr>Arial</vt:lpstr>
      <vt:lpstr>Calibri</vt:lpstr>
      <vt:lpstr>Impact</vt:lpstr>
      <vt:lpstr>主题5</vt:lpstr>
      <vt:lpstr>think-cell Slide</vt:lpstr>
      <vt:lpstr>塞壬 音乐分类  Music Classification</vt:lpstr>
      <vt:lpstr>PowerPoint 演示文稿</vt:lpstr>
      <vt:lpstr>问题背景</vt:lpstr>
      <vt:lpstr>问题分析</vt:lpstr>
      <vt:lpstr>设计思路</vt:lpstr>
      <vt:lpstr>PowerPoint 演示文稿</vt:lpstr>
      <vt:lpstr>PowerPoint 演示文稿</vt:lpstr>
      <vt:lpstr>设计思路</vt:lpstr>
      <vt:lpstr>实践&amp;过程</vt:lpstr>
      <vt:lpstr>PowerPoint 演示文稿</vt:lpstr>
      <vt:lpstr>PowerPoint 演示文稿</vt:lpstr>
      <vt:lpstr>PowerPoint 演示文稿</vt:lpstr>
      <vt:lpstr>PowerPoint 演示文稿</vt:lpstr>
      <vt:lpstr>识别率</vt:lpstr>
      <vt:lpstr>总结</vt:lpstr>
      <vt:lpstr>Thanks Q&amp;A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丁豪</cp:lastModifiedBy>
  <cp:revision>7</cp:revision>
  <cp:lastPrinted>2018-12-02T16:00:00Z</cp:lastPrinted>
  <dcterms:created xsi:type="dcterms:W3CDTF">2018-12-02T16:00:00Z</dcterms:created>
  <dcterms:modified xsi:type="dcterms:W3CDTF">2019-06-10T13:3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